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3"/>
  </p:notesMasterIdLst>
  <p:handoutMasterIdLst>
    <p:handoutMasterId r:id="rId24"/>
  </p:handoutMasterIdLst>
  <p:sldIdLst>
    <p:sldId id="384" r:id="rId2"/>
    <p:sldId id="4983" r:id="rId3"/>
    <p:sldId id="5016" r:id="rId4"/>
    <p:sldId id="5017" r:id="rId5"/>
    <p:sldId id="4986" r:id="rId6"/>
    <p:sldId id="5000" r:id="rId7"/>
    <p:sldId id="5013" r:id="rId8"/>
    <p:sldId id="4998" r:id="rId9"/>
    <p:sldId id="5018" r:id="rId10"/>
    <p:sldId id="5019" r:id="rId11"/>
    <p:sldId id="5014" r:id="rId12"/>
    <p:sldId id="4970" r:id="rId13"/>
    <p:sldId id="5012" r:id="rId14"/>
    <p:sldId id="4990" r:id="rId15"/>
    <p:sldId id="5021" r:id="rId16"/>
    <p:sldId id="393" r:id="rId17"/>
    <p:sldId id="4992" r:id="rId18"/>
    <p:sldId id="4993" r:id="rId19"/>
    <p:sldId id="4994" r:id="rId20"/>
    <p:sldId id="4995" r:id="rId21"/>
    <p:sldId id="4996"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DB2113E-298F-470B-18D9-49D10F1E6DBE}" name="Elgee, Jeffrey (SPAC/PSPC)" initials="EJ(" userId="S::Jeffrey.Elgee@tpsgc-pwgsc.gc.ca::e10f0e9c-c03f-4fde-9113-11216b420c44" providerId="AD"/>
  <p188:author id="{B82E8466-83BB-6317-73B9-A51F2FE0BC10}" name="Pare, Carine (SPAC/PSPC)" initials="PC(" userId="S::Carine.Pare@tpsgc-pwgsc.gc.ca::71f88b2f-db4c-4269-9577-1025f7fc6543"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A920"/>
    <a:srgbClr val="17455C"/>
    <a:srgbClr val="4CB6A0"/>
    <a:srgbClr val="18853F"/>
    <a:srgbClr val="518648"/>
    <a:srgbClr val="F8F682"/>
    <a:srgbClr val="7CB430"/>
    <a:srgbClr val="A8CE75"/>
    <a:srgbClr val="D0FAC0"/>
    <a:srgbClr val="A2F682"/>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1AC57A-6E3B-4D85-BA02-8D6F5065EA89}" v="175" dt="2024-07-09T13:57:29.0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37" autoAdjust="0"/>
    <p:restoredTop sz="86387" autoAdjust="0"/>
  </p:normalViewPr>
  <p:slideViewPr>
    <p:cSldViewPr snapToGrid="0">
      <p:cViewPr varScale="1">
        <p:scale>
          <a:sx n="95" d="100"/>
          <a:sy n="95" d="100"/>
        </p:scale>
        <p:origin x="900" y="96"/>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gee, Jeffrey (SPAC/PSPC)" userId="S::jeffrey.elgee@tpsgc-pwgsc.gc.ca::e10f0e9c-c03f-4fde-9113-11216b420c44" providerId="AD" clId="Web-{39BD275A-D88A-FBF0-2652-96870C031F07}"/>
    <pc:docChg chg="delSld modSld sldOrd">
      <pc:chgData name="Elgee, Jeffrey (SPAC/PSPC)" userId="S::jeffrey.elgee@tpsgc-pwgsc.gc.ca::e10f0e9c-c03f-4fde-9113-11216b420c44" providerId="AD" clId="Web-{39BD275A-D88A-FBF0-2652-96870C031F07}" dt="2024-06-10T15:45:49.007" v="136" actId="20577"/>
      <pc:docMkLst>
        <pc:docMk/>
      </pc:docMkLst>
      <pc:sldChg chg="ord">
        <pc:chgData name="Elgee, Jeffrey (SPAC/PSPC)" userId="S::jeffrey.elgee@tpsgc-pwgsc.gc.ca::e10f0e9c-c03f-4fde-9113-11216b420c44" providerId="AD" clId="Web-{39BD275A-D88A-FBF0-2652-96870C031F07}" dt="2024-06-10T15:34:12.804" v="2"/>
        <pc:sldMkLst>
          <pc:docMk/>
          <pc:sldMk cId="1875387166" sldId="261"/>
        </pc:sldMkLst>
      </pc:sldChg>
      <pc:sldChg chg="mod modShow">
        <pc:chgData name="Elgee, Jeffrey (SPAC/PSPC)" userId="S::jeffrey.elgee@tpsgc-pwgsc.gc.ca::e10f0e9c-c03f-4fde-9113-11216b420c44" providerId="AD" clId="Web-{39BD275A-D88A-FBF0-2652-96870C031F07}" dt="2024-06-10T15:39:25.351" v="20"/>
        <pc:sldMkLst>
          <pc:docMk/>
          <pc:sldMk cId="4155933925" sldId="4984"/>
        </pc:sldMkLst>
      </pc:sldChg>
      <pc:sldChg chg="mod modShow">
        <pc:chgData name="Elgee, Jeffrey (SPAC/PSPC)" userId="S::jeffrey.elgee@tpsgc-pwgsc.gc.ca::e10f0e9c-c03f-4fde-9113-11216b420c44" providerId="AD" clId="Web-{39BD275A-D88A-FBF0-2652-96870C031F07}" dt="2024-06-10T15:39:25.429" v="21"/>
        <pc:sldMkLst>
          <pc:docMk/>
          <pc:sldMk cId="3586646843" sldId="4988"/>
        </pc:sldMkLst>
      </pc:sldChg>
      <pc:sldChg chg="modSp">
        <pc:chgData name="Elgee, Jeffrey (SPAC/PSPC)" userId="S::jeffrey.elgee@tpsgc-pwgsc.gc.ca::e10f0e9c-c03f-4fde-9113-11216b420c44" providerId="AD" clId="Web-{39BD275A-D88A-FBF0-2652-96870C031F07}" dt="2024-06-10T15:41:51.710" v="90" actId="20577"/>
        <pc:sldMkLst>
          <pc:docMk/>
          <pc:sldMk cId="3675530289" sldId="4990"/>
        </pc:sldMkLst>
        <pc:spChg chg="mod">
          <ac:chgData name="Elgee, Jeffrey (SPAC/PSPC)" userId="S::jeffrey.elgee@tpsgc-pwgsc.gc.ca::e10f0e9c-c03f-4fde-9113-11216b420c44" providerId="AD" clId="Web-{39BD275A-D88A-FBF0-2652-96870C031F07}" dt="2024-06-10T15:41:51.710" v="90" actId="20577"/>
          <ac:spMkLst>
            <pc:docMk/>
            <pc:sldMk cId="3675530289" sldId="4990"/>
            <ac:spMk id="3" creationId="{850EFA27-BB7E-A97B-CC4E-5CD87E1BCE56}"/>
          </ac:spMkLst>
        </pc:spChg>
      </pc:sldChg>
      <pc:sldChg chg="modSp">
        <pc:chgData name="Elgee, Jeffrey (SPAC/PSPC)" userId="S::jeffrey.elgee@tpsgc-pwgsc.gc.ca::e10f0e9c-c03f-4fde-9113-11216b420c44" providerId="AD" clId="Web-{39BD275A-D88A-FBF0-2652-96870C031F07}" dt="2024-06-10T15:42:19.101" v="91" actId="20577"/>
        <pc:sldMkLst>
          <pc:docMk/>
          <pc:sldMk cId="388099589" sldId="4992"/>
        </pc:sldMkLst>
        <pc:spChg chg="mod">
          <ac:chgData name="Elgee, Jeffrey (SPAC/PSPC)" userId="S::jeffrey.elgee@tpsgc-pwgsc.gc.ca::e10f0e9c-c03f-4fde-9113-11216b420c44" providerId="AD" clId="Web-{39BD275A-D88A-FBF0-2652-96870C031F07}" dt="2024-06-10T15:42:19.101" v="91" actId="20577"/>
          <ac:spMkLst>
            <pc:docMk/>
            <pc:sldMk cId="388099589" sldId="4992"/>
            <ac:spMk id="15" creationId="{2A224E51-C8E2-AF04-0A70-65F6548C9FA5}"/>
          </ac:spMkLst>
        </pc:spChg>
      </pc:sldChg>
      <pc:sldChg chg="modSp">
        <pc:chgData name="Elgee, Jeffrey (SPAC/PSPC)" userId="S::jeffrey.elgee@tpsgc-pwgsc.gc.ca::e10f0e9c-c03f-4fde-9113-11216b420c44" providerId="AD" clId="Web-{39BD275A-D88A-FBF0-2652-96870C031F07}" dt="2024-06-10T15:43:46.913" v="108" actId="1076"/>
        <pc:sldMkLst>
          <pc:docMk/>
          <pc:sldMk cId="3248544414" sldId="4993"/>
        </pc:sldMkLst>
        <pc:spChg chg="mod">
          <ac:chgData name="Elgee, Jeffrey (SPAC/PSPC)" userId="S::jeffrey.elgee@tpsgc-pwgsc.gc.ca::e10f0e9c-c03f-4fde-9113-11216b420c44" providerId="AD" clId="Web-{39BD275A-D88A-FBF0-2652-96870C031F07}" dt="2024-06-10T15:43:46.913" v="108" actId="1076"/>
          <ac:spMkLst>
            <pc:docMk/>
            <pc:sldMk cId="3248544414" sldId="4993"/>
            <ac:spMk id="2" creationId="{614254A6-86DE-4A21-B094-C9AE8BEEF21A}"/>
          </ac:spMkLst>
        </pc:spChg>
      </pc:sldChg>
      <pc:sldChg chg="modSp">
        <pc:chgData name="Elgee, Jeffrey (SPAC/PSPC)" userId="S::jeffrey.elgee@tpsgc-pwgsc.gc.ca::e10f0e9c-c03f-4fde-9113-11216b420c44" providerId="AD" clId="Web-{39BD275A-D88A-FBF0-2652-96870C031F07}" dt="2024-06-10T15:44:34.491" v="113" actId="1076"/>
        <pc:sldMkLst>
          <pc:docMk/>
          <pc:sldMk cId="2239565128" sldId="4994"/>
        </pc:sldMkLst>
        <pc:spChg chg="mod">
          <ac:chgData name="Elgee, Jeffrey (SPAC/PSPC)" userId="S::jeffrey.elgee@tpsgc-pwgsc.gc.ca::e10f0e9c-c03f-4fde-9113-11216b420c44" providerId="AD" clId="Web-{39BD275A-D88A-FBF0-2652-96870C031F07}" dt="2024-06-10T15:44:34.491" v="113" actId="1076"/>
          <ac:spMkLst>
            <pc:docMk/>
            <pc:sldMk cId="2239565128" sldId="4994"/>
            <ac:spMk id="3" creationId="{1CEF9E92-F5EA-929E-089A-77CB316CD4E6}"/>
          </ac:spMkLst>
        </pc:spChg>
      </pc:sldChg>
      <pc:sldChg chg="modSp">
        <pc:chgData name="Elgee, Jeffrey (SPAC/PSPC)" userId="S::jeffrey.elgee@tpsgc-pwgsc.gc.ca::e10f0e9c-c03f-4fde-9113-11216b420c44" providerId="AD" clId="Web-{39BD275A-D88A-FBF0-2652-96870C031F07}" dt="2024-06-10T15:45:04.054" v="118" actId="1076"/>
        <pc:sldMkLst>
          <pc:docMk/>
          <pc:sldMk cId="4226407642" sldId="4995"/>
        </pc:sldMkLst>
        <pc:spChg chg="mod">
          <ac:chgData name="Elgee, Jeffrey (SPAC/PSPC)" userId="S::jeffrey.elgee@tpsgc-pwgsc.gc.ca::e10f0e9c-c03f-4fde-9113-11216b420c44" providerId="AD" clId="Web-{39BD275A-D88A-FBF0-2652-96870C031F07}" dt="2024-06-10T15:45:04.054" v="118" actId="1076"/>
          <ac:spMkLst>
            <pc:docMk/>
            <pc:sldMk cId="4226407642" sldId="4995"/>
            <ac:spMk id="4" creationId="{7A3D9691-2EF5-8BFD-F0A0-97FB021A1A74}"/>
          </ac:spMkLst>
        </pc:spChg>
      </pc:sldChg>
      <pc:sldChg chg="addSp modSp">
        <pc:chgData name="Elgee, Jeffrey (SPAC/PSPC)" userId="S::jeffrey.elgee@tpsgc-pwgsc.gc.ca::e10f0e9c-c03f-4fde-9113-11216b420c44" providerId="AD" clId="Web-{39BD275A-D88A-FBF0-2652-96870C031F07}" dt="2024-06-10T15:45:49.007" v="136" actId="20577"/>
        <pc:sldMkLst>
          <pc:docMk/>
          <pc:sldMk cId="502785453" sldId="4996"/>
        </pc:sldMkLst>
        <pc:spChg chg="add mod">
          <ac:chgData name="Elgee, Jeffrey (SPAC/PSPC)" userId="S::jeffrey.elgee@tpsgc-pwgsc.gc.ca::e10f0e9c-c03f-4fde-9113-11216b420c44" providerId="AD" clId="Web-{39BD275A-D88A-FBF0-2652-96870C031F07}" dt="2024-06-10T15:45:49.007" v="136" actId="20577"/>
          <ac:spMkLst>
            <pc:docMk/>
            <pc:sldMk cId="502785453" sldId="4996"/>
            <ac:spMk id="4" creationId="{A68055C5-C3B2-54D4-BDF8-80FA55C8F1BD}"/>
          </ac:spMkLst>
        </pc:spChg>
      </pc:sldChg>
      <pc:sldChg chg="del">
        <pc:chgData name="Elgee, Jeffrey (SPAC/PSPC)" userId="S::jeffrey.elgee@tpsgc-pwgsc.gc.ca::e10f0e9c-c03f-4fde-9113-11216b420c44" providerId="AD" clId="Web-{39BD275A-D88A-FBF0-2652-96870C031F07}" dt="2024-06-10T15:39:07.022" v="19"/>
        <pc:sldMkLst>
          <pc:docMk/>
          <pc:sldMk cId="1601877447" sldId="5006"/>
        </pc:sldMkLst>
      </pc:sldChg>
      <pc:sldChg chg="ord">
        <pc:chgData name="Elgee, Jeffrey (SPAC/PSPC)" userId="S::jeffrey.elgee@tpsgc-pwgsc.gc.ca::e10f0e9c-c03f-4fde-9113-11216b420c44" providerId="AD" clId="Web-{39BD275A-D88A-FBF0-2652-96870C031F07}" dt="2024-06-10T15:34:12.804" v="1"/>
        <pc:sldMkLst>
          <pc:docMk/>
          <pc:sldMk cId="257696756" sldId="5009"/>
        </pc:sldMkLst>
      </pc:sldChg>
      <pc:sldChg chg="modSp ord">
        <pc:chgData name="Elgee, Jeffrey (SPAC/PSPC)" userId="S::jeffrey.elgee@tpsgc-pwgsc.gc.ca::e10f0e9c-c03f-4fde-9113-11216b420c44" providerId="AD" clId="Web-{39BD275A-D88A-FBF0-2652-96870C031F07}" dt="2024-06-10T15:36:23.804" v="18" actId="20577"/>
        <pc:sldMkLst>
          <pc:docMk/>
          <pc:sldMk cId="1717449089" sldId="5011"/>
        </pc:sldMkLst>
        <pc:spChg chg="mod">
          <ac:chgData name="Elgee, Jeffrey (SPAC/PSPC)" userId="S::jeffrey.elgee@tpsgc-pwgsc.gc.ca::e10f0e9c-c03f-4fde-9113-11216b420c44" providerId="AD" clId="Web-{39BD275A-D88A-FBF0-2652-96870C031F07}" dt="2024-06-10T15:36:23.804" v="18" actId="20577"/>
          <ac:spMkLst>
            <pc:docMk/>
            <pc:sldMk cId="1717449089" sldId="5011"/>
            <ac:spMk id="3" creationId="{DE69AC7C-2B0D-CF31-48EE-53792B4D724E}"/>
          </ac:spMkLst>
        </pc:spChg>
      </pc:sldChg>
    </pc:docChg>
  </pc:docChgLst>
  <pc:docChgLst>
    <pc:chgData name="Elgee, Jeffrey (SPAC/PSPC)" userId="S::jeffrey.elgee@tpsgc-pwgsc.gc.ca::e10f0e9c-c03f-4fde-9113-11216b420c44" providerId="AD" clId="Web-{1B33E0D5-426C-3451-2EA0-D8D96C97978D}"/>
    <pc:docChg chg="modSld">
      <pc:chgData name="Elgee, Jeffrey (SPAC/PSPC)" userId="S::jeffrey.elgee@tpsgc-pwgsc.gc.ca::e10f0e9c-c03f-4fde-9113-11216b420c44" providerId="AD" clId="Web-{1B33E0D5-426C-3451-2EA0-D8D96C97978D}" dt="2024-06-12T16:52:30.593" v="136" actId="20577"/>
      <pc:docMkLst>
        <pc:docMk/>
      </pc:docMkLst>
      <pc:sldChg chg="addSp modSp">
        <pc:chgData name="Elgee, Jeffrey (SPAC/PSPC)" userId="S::jeffrey.elgee@tpsgc-pwgsc.gc.ca::e10f0e9c-c03f-4fde-9113-11216b420c44" providerId="AD" clId="Web-{1B33E0D5-426C-3451-2EA0-D8D96C97978D}" dt="2024-06-12T16:52:30.593" v="136" actId="20577"/>
        <pc:sldMkLst>
          <pc:docMk/>
          <pc:sldMk cId="3716027044" sldId="5010"/>
        </pc:sldMkLst>
        <pc:spChg chg="add mod">
          <ac:chgData name="Elgee, Jeffrey (SPAC/PSPC)" userId="S::jeffrey.elgee@tpsgc-pwgsc.gc.ca::e10f0e9c-c03f-4fde-9113-11216b420c44" providerId="AD" clId="Web-{1B33E0D5-426C-3451-2EA0-D8D96C97978D}" dt="2024-06-12T16:52:30.593" v="136" actId="20577"/>
          <ac:spMkLst>
            <pc:docMk/>
            <pc:sldMk cId="3716027044" sldId="5010"/>
            <ac:spMk id="3" creationId="{7CFBC1A6-417D-60C5-7EDD-71952C635E89}"/>
          </ac:spMkLst>
        </pc:spChg>
      </pc:sldChg>
    </pc:docChg>
  </pc:docChgLst>
  <pc:docChgLst>
    <pc:chgData name="Elgee, Jeffrey (SPAC/PSPC)" userId="S::jeffrey.elgee@tpsgc-pwgsc.gc.ca::e10f0e9c-c03f-4fde-9113-11216b420c44" providerId="AD" clId="Web-{BC4256F7-148A-78B6-A9ED-5045FE6BE00A}"/>
    <pc:docChg chg="addSld modSld">
      <pc:chgData name="Elgee, Jeffrey (SPAC/PSPC)" userId="S::jeffrey.elgee@tpsgc-pwgsc.gc.ca::e10f0e9c-c03f-4fde-9113-11216b420c44" providerId="AD" clId="Web-{BC4256F7-148A-78B6-A9ED-5045FE6BE00A}" dt="2024-06-05T18:27:45.901" v="15" actId="1076"/>
      <pc:docMkLst>
        <pc:docMk/>
      </pc:docMkLst>
      <pc:sldChg chg="addSp delSp modSp">
        <pc:chgData name="Elgee, Jeffrey (SPAC/PSPC)" userId="S::jeffrey.elgee@tpsgc-pwgsc.gc.ca::e10f0e9c-c03f-4fde-9113-11216b420c44" providerId="AD" clId="Web-{BC4256F7-148A-78B6-A9ED-5045FE6BE00A}" dt="2024-06-05T18:27:45.901" v="15" actId="1076"/>
        <pc:sldMkLst>
          <pc:docMk/>
          <pc:sldMk cId="3194185217" sldId="5000"/>
        </pc:sldMkLst>
        <pc:spChg chg="del">
          <ac:chgData name="Elgee, Jeffrey (SPAC/PSPC)" userId="S::jeffrey.elgee@tpsgc-pwgsc.gc.ca::e10f0e9c-c03f-4fde-9113-11216b420c44" providerId="AD" clId="Web-{BC4256F7-148A-78B6-A9ED-5045FE6BE00A}" dt="2024-06-05T18:27:37.370" v="14"/>
          <ac:spMkLst>
            <pc:docMk/>
            <pc:sldMk cId="3194185217" sldId="5000"/>
            <ac:spMk id="4" creationId="{58011242-3B58-087A-52DA-31351CD501E0}"/>
          </ac:spMkLst>
        </pc:spChg>
        <pc:spChg chg="mod">
          <ac:chgData name="Elgee, Jeffrey (SPAC/PSPC)" userId="S::jeffrey.elgee@tpsgc-pwgsc.gc.ca::e10f0e9c-c03f-4fde-9113-11216b420c44" providerId="AD" clId="Web-{BC4256F7-148A-78B6-A9ED-5045FE6BE00A}" dt="2024-06-05T18:11:14.068" v="11" actId="1076"/>
          <ac:spMkLst>
            <pc:docMk/>
            <pc:sldMk cId="3194185217" sldId="5000"/>
            <ac:spMk id="69" creationId="{CDB7C5CD-F4AC-8A66-5378-BF3E4CB2B2A8}"/>
          </ac:spMkLst>
        </pc:spChg>
        <pc:grpChg chg="mod">
          <ac:chgData name="Elgee, Jeffrey (SPAC/PSPC)" userId="S::jeffrey.elgee@tpsgc-pwgsc.gc.ca::e10f0e9c-c03f-4fde-9113-11216b420c44" providerId="AD" clId="Web-{BC4256F7-148A-78B6-A9ED-5045FE6BE00A}" dt="2024-06-05T18:11:07.614" v="10" actId="1076"/>
          <ac:grpSpMkLst>
            <pc:docMk/>
            <pc:sldMk cId="3194185217" sldId="5000"/>
            <ac:grpSpMk id="3" creationId="{EAFCA7DA-B3A3-40D1-F2DD-88BF94C0FDEE}"/>
          </ac:grpSpMkLst>
        </pc:grpChg>
        <pc:grpChg chg="add mod">
          <ac:chgData name="Elgee, Jeffrey (SPAC/PSPC)" userId="S::jeffrey.elgee@tpsgc-pwgsc.gc.ca::e10f0e9c-c03f-4fde-9113-11216b420c44" providerId="AD" clId="Web-{BC4256F7-148A-78B6-A9ED-5045FE6BE00A}" dt="2024-06-05T18:27:45.901" v="15" actId="1076"/>
          <ac:grpSpMkLst>
            <pc:docMk/>
            <pc:sldMk cId="3194185217" sldId="5000"/>
            <ac:grpSpMk id="110" creationId="{1CB9BAB3-39DC-FD22-E6E1-937E3162FB5C}"/>
          </ac:grpSpMkLst>
        </pc:grpChg>
      </pc:sldChg>
      <pc:sldChg chg="add replId">
        <pc:chgData name="Elgee, Jeffrey (SPAC/PSPC)" userId="S::jeffrey.elgee@tpsgc-pwgsc.gc.ca::e10f0e9c-c03f-4fde-9113-11216b420c44" providerId="AD" clId="Web-{BC4256F7-148A-78B6-A9ED-5045FE6BE00A}" dt="2024-06-05T18:10:23.067" v="1"/>
        <pc:sldMkLst>
          <pc:docMk/>
          <pc:sldMk cId="3820944322" sldId="5005"/>
        </pc:sldMkLst>
      </pc:sldChg>
    </pc:docChg>
  </pc:docChgLst>
  <pc:docChgLst>
    <pc:chgData name="Elgee, Jeffrey (SPAC/PSPC)" userId="e10f0e9c-c03f-4fde-9113-11216b420c44" providerId="ADAL" clId="{8A22DB22-CE08-4237-BAFA-661B83772496}"/>
    <pc:docChg chg="undo redo custSel addSld delSld modSld">
      <pc:chgData name="Elgee, Jeffrey (SPAC/PSPC)" userId="e10f0e9c-c03f-4fde-9113-11216b420c44" providerId="ADAL" clId="{8A22DB22-CE08-4237-BAFA-661B83772496}" dt="2024-06-12T14:02:37.622" v="3537" actId="13926"/>
      <pc:docMkLst>
        <pc:docMk/>
      </pc:docMkLst>
      <pc:sldChg chg="addSp delSp modSp add mod modClrScheme chgLayout modNotesTx">
        <pc:chgData name="Elgee, Jeffrey (SPAC/PSPC)" userId="e10f0e9c-c03f-4fde-9113-11216b420c44" providerId="ADAL" clId="{8A22DB22-CE08-4237-BAFA-661B83772496}" dt="2024-06-10T20:05:12.901" v="2478" actId="20577"/>
        <pc:sldMkLst>
          <pc:docMk/>
          <pc:sldMk cId="1875387166" sldId="261"/>
        </pc:sldMkLst>
        <pc:spChg chg="add del mod ord">
          <ac:chgData name="Elgee, Jeffrey (SPAC/PSPC)" userId="e10f0e9c-c03f-4fde-9113-11216b420c44" providerId="ADAL" clId="{8A22DB22-CE08-4237-BAFA-661B83772496}" dt="2024-06-06T18:02:01.430" v="925" actId="478"/>
          <ac:spMkLst>
            <pc:docMk/>
            <pc:sldMk cId="1875387166" sldId="261"/>
            <ac:spMk id="2" creationId="{21AE3424-C166-D6DD-B860-0627A0DBBDE0}"/>
          </ac:spMkLst>
        </pc:spChg>
        <pc:spChg chg="add del mod ord">
          <ac:chgData name="Elgee, Jeffrey (SPAC/PSPC)" userId="e10f0e9c-c03f-4fde-9113-11216b420c44" providerId="ADAL" clId="{8A22DB22-CE08-4237-BAFA-661B83772496}" dt="2024-06-06T18:02:05.177" v="926" actId="478"/>
          <ac:spMkLst>
            <pc:docMk/>
            <pc:sldMk cId="1875387166" sldId="261"/>
            <ac:spMk id="3" creationId="{DD28ADE1-77A9-8DDE-665F-CE2CD7213E62}"/>
          </ac:spMkLst>
        </pc:spChg>
        <pc:spChg chg="add del mod">
          <ac:chgData name="Elgee, Jeffrey (SPAC/PSPC)" userId="e10f0e9c-c03f-4fde-9113-11216b420c44" providerId="ADAL" clId="{8A22DB22-CE08-4237-BAFA-661B83772496}" dt="2024-06-06T18:05:34.072" v="929"/>
          <ac:spMkLst>
            <pc:docMk/>
            <pc:sldMk cId="1875387166" sldId="261"/>
            <ac:spMk id="4" creationId="{B2FC2CBC-9439-436F-1EB7-34B0D07AB7E0}"/>
          </ac:spMkLst>
        </pc:spChg>
        <pc:spChg chg="del">
          <ac:chgData name="Elgee, Jeffrey (SPAC/PSPC)" userId="e10f0e9c-c03f-4fde-9113-11216b420c44" providerId="ADAL" clId="{8A22DB22-CE08-4237-BAFA-661B83772496}" dt="2024-06-06T18:24:31.193" v="1266" actId="478"/>
          <ac:spMkLst>
            <pc:docMk/>
            <pc:sldMk cId="1875387166" sldId="261"/>
            <ac:spMk id="5" creationId="{E1829E29-EF69-4153-95EC-9C1110DC19B6}"/>
          </ac:spMkLst>
        </pc:spChg>
        <pc:spChg chg="mod ord">
          <ac:chgData name="Elgee, Jeffrey (SPAC/PSPC)" userId="e10f0e9c-c03f-4fde-9113-11216b420c44" providerId="ADAL" clId="{8A22DB22-CE08-4237-BAFA-661B83772496}" dt="2024-06-06T18:01:53.327" v="924" actId="700"/>
          <ac:spMkLst>
            <pc:docMk/>
            <pc:sldMk cId="1875387166" sldId="261"/>
            <ac:spMk id="7" creationId="{0E5312BC-D894-4EF1-B411-739DA565E3FB}"/>
          </ac:spMkLst>
        </pc:spChg>
        <pc:spChg chg="add mod">
          <ac:chgData name="Elgee, Jeffrey (SPAC/PSPC)" userId="e10f0e9c-c03f-4fde-9113-11216b420c44" providerId="ADAL" clId="{8A22DB22-CE08-4237-BAFA-661B83772496}" dt="2024-06-06T18:36:09.811" v="1399" actId="207"/>
          <ac:spMkLst>
            <pc:docMk/>
            <pc:sldMk cId="1875387166" sldId="261"/>
            <ac:spMk id="10" creationId="{3D47C0AB-1ACB-3694-CE31-D36104FDCD68}"/>
          </ac:spMkLst>
        </pc:spChg>
        <pc:spChg chg="mod">
          <ac:chgData name="Elgee, Jeffrey (SPAC/PSPC)" userId="e10f0e9c-c03f-4fde-9113-11216b420c44" providerId="ADAL" clId="{8A22DB22-CE08-4237-BAFA-661B83772496}" dt="2024-06-06T18:35:44.783" v="1396" actId="208"/>
          <ac:spMkLst>
            <pc:docMk/>
            <pc:sldMk cId="1875387166" sldId="261"/>
            <ac:spMk id="40" creationId="{82E706F3-FA6A-1345-B840-7541D93DEE0B}"/>
          </ac:spMkLst>
        </pc:spChg>
        <pc:spChg chg="mod">
          <ac:chgData name="Elgee, Jeffrey (SPAC/PSPC)" userId="e10f0e9c-c03f-4fde-9113-11216b420c44" providerId="ADAL" clId="{8A22DB22-CE08-4237-BAFA-661B83772496}" dt="2024-06-06T18:37:07.041" v="1408" actId="1076"/>
          <ac:spMkLst>
            <pc:docMk/>
            <pc:sldMk cId="1875387166" sldId="261"/>
            <ac:spMk id="51" creationId="{A42873D4-5793-384D-9BE3-818F527827B0}"/>
          </ac:spMkLst>
        </pc:spChg>
        <pc:spChg chg="mod">
          <ac:chgData name="Elgee, Jeffrey (SPAC/PSPC)" userId="e10f0e9c-c03f-4fde-9113-11216b420c44" providerId="ADAL" clId="{8A22DB22-CE08-4237-BAFA-661B83772496}" dt="2024-06-06T18:36:59.056" v="1406" actId="207"/>
          <ac:spMkLst>
            <pc:docMk/>
            <pc:sldMk cId="1875387166" sldId="261"/>
            <ac:spMk id="52" creationId="{E504786C-20B8-044D-B38E-955BC8F44CEA}"/>
          </ac:spMkLst>
        </pc:spChg>
        <pc:spChg chg="mod">
          <ac:chgData name="Elgee, Jeffrey (SPAC/PSPC)" userId="e10f0e9c-c03f-4fde-9113-11216b420c44" providerId="ADAL" clId="{8A22DB22-CE08-4237-BAFA-661B83772496}" dt="2024-06-06T18:36:41.154" v="1404" actId="207"/>
          <ac:spMkLst>
            <pc:docMk/>
            <pc:sldMk cId="1875387166" sldId="261"/>
            <ac:spMk id="54" creationId="{5490FC9F-889D-A044-9A24-51CB6BB0725C}"/>
          </ac:spMkLst>
        </pc:spChg>
        <pc:spChg chg="mod">
          <ac:chgData name="Elgee, Jeffrey (SPAC/PSPC)" userId="e10f0e9c-c03f-4fde-9113-11216b420c44" providerId="ADAL" clId="{8A22DB22-CE08-4237-BAFA-661B83772496}" dt="2024-06-06T18:36:50.358" v="1405" actId="207"/>
          <ac:spMkLst>
            <pc:docMk/>
            <pc:sldMk cId="1875387166" sldId="261"/>
            <ac:spMk id="55" creationId="{C65A198B-1883-1A4B-A8B4-DD725DC9EB17}"/>
          </ac:spMkLst>
        </pc:spChg>
        <pc:spChg chg="mod">
          <ac:chgData name="Elgee, Jeffrey (SPAC/PSPC)" userId="e10f0e9c-c03f-4fde-9113-11216b420c44" providerId="ADAL" clId="{8A22DB22-CE08-4237-BAFA-661B83772496}" dt="2024-06-06T18:35:56.864" v="1397" actId="207"/>
          <ac:spMkLst>
            <pc:docMk/>
            <pc:sldMk cId="1875387166" sldId="261"/>
            <ac:spMk id="56" creationId="{432E7640-9E73-0D40-A6F4-AC27C1BD258B}"/>
          </ac:spMkLst>
        </pc:spChg>
        <pc:spChg chg="mod">
          <ac:chgData name="Elgee, Jeffrey (SPAC/PSPC)" userId="e10f0e9c-c03f-4fde-9113-11216b420c44" providerId="ADAL" clId="{8A22DB22-CE08-4237-BAFA-661B83772496}" dt="2024-06-10T20:00:49.490" v="2438" actId="20577"/>
          <ac:spMkLst>
            <pc:docMk/>
            <pc:sldMk cId="1875387166" sldId="261"/>
            <ac:spMk id="57" creationId="{9A6652DC-5AC2-7644-AD89-4F3E30042289}"/>
          </ac:spMkLst>
        </pc:spChg>
        <pc:spChg chg="mod">
          <ac:chgData name="Elgee, Jeffrey (SPAC/PSPC)" userId="e10f0e9c-c03f-4fde-9113-11216b420c44" providerId="ADAL" clId="{8A22DB22-CE08-4237-BAFA-661B83772496}" dt="2024-06-06T18:36:14.697" v="1400" actId="207"/>
          <ac:spMkLst>
            <pc:docMk/>
            <pc:sldMk cId="1875387166" sldId="261"/>
            <ac:spMk id="59" creationId="{F1F230E2-1267-6E4F-8031-0EC3BDB25111}"/>
          </ac:spMkLst>
        </pc:spChg>
        <pc:spChg chg="del">
          <ac:chgData name="Elgee, Jeffrey (SPAC/PSPC)" userId="e10f0e9c-c03f-4fde-9113-11216b420c44" providerId="ADAL" clId="{8A22DB22-CE08-4237-BAFA-661B83772496}" dt="2024-06-06T18:01:04.082" v="918" actId="478"/>
          <ac:spMkLst>
            <pc:docMk/>
            <pc:sldMk cId="1875387166" sldId="261"/>
            <ac:spMk id="60" creationId="{6A8488CB-8948-F140-BF50-ECA07AD8109D}"/>
          </ac:spMkLst>
        </pc:spChg>
        <pc:spChg chg="del">
          <ac:chgData name="Elgee, Jeffrey (SPAC/PSPC)" userId="e10f0e9c-c03f-4fde-9113-11216b420c44" providerId="ADAL" clId="{8A22DB22-CE08-4237-BAFA-661B83772496}" dt="2024-06-06T18:01:00.163" v="917" actId="478"/>
          <ac:spMkLst>
            <pc:docMk/>
            <pc:sldMk cId="1875387166" sldId="261"/>
            <ac:spMk id="61" creationId="{ACE322D1-BE34-5B42-9EBA-164E4ED1DED1}"/>
          </ac:spMkLst>
        </pc:spChg>
        <pc:spChg chg="del">
          <ac:chgData name="Elgee, Jeffrey (SPAC/PSPC)" userId="e10f0e9c-c03f-4fde-9113-11216b420c44" providerId="ADAL" clId="{8A22DB22-CE08-4237-BAFA-661B83772496}" dt="2024-06-06T18:01:08.514" v="919" actId="478"/>
          <ac:spMkLst>
            <pc:docMk/>
            <pc:sldMk cId="1875387166" sldId="261"/>
            <ac:spMk id="62" creationId="{EC0B0DF1-5041-1E4C-8D53-689D605A0A6F}"/>
          </ac:spMkLst>
        </pc:spChg>
        <pc:spChg chg="del">
          <ac:chgData name="Elgee, Jeffrey (SPAC/PSPC)" userId="e10f0e9c-c03f-4fde-9113-11216b420c44" providerId="ADAL" clId="{8A22DB22-CE08-4237-BAFA-661B83772496}" dt="2024-06-06T18:01:12.675" v="920" actId="478"/>
          <ac:spMkLst>
            <pc:docMk/>
            <pc:sldMk cId="1875387166" sldId="261"/>
            <ac:spMk id="63" creationId="{1182BBD0-A845-5548-A48D-DFC7538124C2}"/>
          </ac:spMkLst>
        </pc:spChg>
        <pc:spChg chg="del">
          <ac:chgData name="Elgee, Jeffrey (SPAC/PSPC)" userId="e10f0e9c-c03f-4fde-9113-11216b420c44" providerId="ADAL" clId="{8A22DB22-CE08-4237-BAFA-661B83772496}" dt="2024-06-06T18:01:16.578" v="921" actId="478"/>
          <ac:spMkLst>
            <pc:docMk/>
            <pc:sldMk cId="1875387166" sldId="261"/>
            <ac:spMk id="64" creationId="{4F2BC55B-75CF-7B4B-9C75-E00F26A8F5B8}"/>
          </ac:spMkLst>
        </pc:spChg>
        <pc:cxnChg chg="add del mod">
          <ac:chgData name="Elgee, Jeffrey (SPAC/PSPC)" userId="e10f0e9c-c03f-4fde-9113-11216b420c44" providerId="ADAL" clId="{8A22DB22-CE08-4237-BAFA-661B83772496}" dt="2024-06-06T18:26:49.002" v="1290" actId="478"/>
          <ac:cxnSpMkLst>
            <pc:docMk/>
            <pc:sldMk cId="1875387166" sldId="261"/>
            <ac:cxnSpMk id="12" creationId="{BDE86105-CA93-DFEC-23D1-4FA46A0C45FB}"/>
          </ac:cxnSpMkLst>
        </pc:cxnChg>
        <pc:cxnChg chg="add del mod">
          <ac:chgData name="Elgee, Jeffrey (SPAC/PSPC)" userId="e10f0e9c-c03f-4fde-9113-11216b420c44" providerId="ADAL" clId="{8A22DB22-CE08-4237-BAFA-661B83772496}" dt="2024-06-06T18:26:48.181" v="1289" actId="478"/>
          <ac:cxnSpMkLst>
            <pc:docMk/>
            <pc:sldMk cId="1875387166" sldId="261"/>
            <ac:cxnSpMk id="13" creationId="{017A6896-7915-1C45-D73B-9C4D43C019AD}"/>
          </ac:cxnSpMkLst>
        </pc:cxnChg>
        <pc:cxnChg chg="add del mod">
          <ac:chgData name="Elgee, Jeffrey (SPAC/PSPC)" userId="e10f0e9c-c03f-4fde-9113-11216b420c44" providerId="ADAL" clId="{8A22DB22-CE08-4237-BAFA-661B83772496}" dt="2024-06-06T18:26:47.440" v="1288" actId="478"/>
          <ac:cxnSpMkLst>
            <pc:docMk/>
            <pc:sldMk cId="1875387166" sldId="261"/>
            <ac:cxnSpMk id="16" creationId="{42F01C50-1EA6-FC78-46ED-8742A7F0E7A2}"/>
          </ac:cxnSpMkLst>
        </pc:cxnChg>
        <pc:cxnChg chg="mod">
          <ac:chgData name="Elgee, Jeffrey (SPAC/PSPC)" userId="e10f0e9c-c03f-4fde-9113-11216b420c44" providerId="ADAL" clId="{8A22DB22-CE08-4237-BAFA-661B83772496}" dt="2024-06-06T18:36:25.282" v="1402" actId="208"/>
          <ac:cxnSpMkLst>
            <pc:docMk/>
            <pc:sldMk cId="1875387166" sldId="261"/>
            <ac:cxnSpMk id="45" creationId="{136D3FD2-6787-4A4F-91CE-8770E54F376B}"/>
          </ac:cxnSpMkLst>
        </pc:cxnChg>
        <pc:cxnChg chg="mod">
          <ac:chgData name="Elgee, Jeffrey (SPAC/PSPC)" userId="e10f0e9c-c03f-4fde-9113-11216b420c44" providerId="ADAL" clId="{8A22DB22-CE08-4237-BAFA-661B83772496}" dt="2024-06-06T18:36:19.086" v="1401" actId="208"/>
          <ac:cxnSpMkLst>
            <pc:docMk/>
            <pc:sldMk cId="1875387166" sldId="261"/>
            <ac:cxnSpMk id="48" creationId="{349CE16F-30BD-634E-AC0B-DF9FE158DBDD}"/>
          </ac:cxnSpMkLst>
        </pc:cxnChg>
      </pc:sldChg>
      <pc:sldChg chg="modSp mod">
        <pc:chgData name="Elgee, Jeffrey (SPAC/PSPC)" userId="e10f0e9c-c03f-4fde-9113-11216b420c44" providerId="ADAL" clId="{8A22DB22-CE08-4237-BAFA-661B83772496}" dt="2024-06-12T13:35:50.609" v="3213" actId="20577"/>
        <pc:sldMkLst>
          <pc:docMk/>
          <pc:sldMk cId="1739606208" sldId="384"/>
        </pc:sldMkLst>
        <pc:spChg chg="mod">
          <ac:chgData name="Elgee, Jeffrey (SPAC/PSPC)" userId="e10f0e9c-c03f-4fde-9113-11216b420c44" providerId="ADAL" clId="{8A22DB22-CE08-4237-BAFA-661B83772496}" dt="2024-06-12T13:35:50.609" v="3213" actId="20577"/>
          <ac:spMkLst>
            <pc:docMk/>
            <pc:sldMk cId="1739606208" sldId="384"/>
            <ac:spMk id="2" creationId="{00000000-0000-0000-0000-000000000000}"/>
          </ac:spMkLst>
        </pc:spChg>
      </pc:sldChg>
      <pc:sldChg chg="modSp mod addCm">
        <pc:chgData name="Elgee, Jeffrey (SPAC/PSPC)" userId="e10f0e9c-c03f-4fde-9113-11216b420c44" providerId="ADAL" clId="{8A22DB22-CE08-4237-BAFA-661B83772496}" dt="2024-06-12T13:48:33.339" v="3382"/>
        <pc:sldMkLst>
          <pc:docMk/>
          <pc:sldMk cId="3291831031" sldId="4970"/>
        </pc:sldMkLst>
        <pc:spChg chg="mod">
          <ac:chgData name="Elgee, Jeffrey (SPAC/PSPC)" userId="e10f0e9c-c03f-4fde-9113-11216b420c44" providerId="ADAL" clId="{8A22DB22-CE08-4237-BAFA-661B83772496}" dt="2024-06-06T14:24:34.934" v="873" actId="1076"/>
          <ac:spMkLst>
            <pc:docMk/>
            <pc:sldMk cId="3291831031" sldId="4970"/>
            <ac:spMk id="2" creationId="{C74025A8-BF11-4E8B-9432-F1A9787EEC2E}"/>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8:33.339" v="3382"/>
              <pc2:cmMkLst xmlns:pc2="http://schemas.microsoft.com/office/powerpoint/2019/9/main/command">
                <pc:docMk/>
                <pc:sldMk cId="3291831031" sldId="4970"/>
                <pc2:cmMk id="{479CF1C4-546D-448B-B989-CB381F9832A6}"/>
              </pc2:cmMkLst>
            </pc226:cmChg>
          </p:ext>
        </pc:extLst>
      </pc:sldChg>
      <pc:sldChg chg="modSp mod modCm">
        <pc:chgData name="Elgee, Jeffrey (SPAC/PSPC)" userId="e10f0e9c-c03f-4fde-9113-11216b420c44" providerId="ADAL" clId="{8A22DB22-CE08-4237-BAFA-661B83772496}" dt="2024-06-07T19:41:35.730" v="1960" actId="21"/>
        <pc:sldMkLst>
          <pc:docMk/>
          <pc:sldMk cId="4155933925" sldId="4984"/>
        </pc:sldMkLst>
        <pc:spChg chg="mod">
          <ac:chgData name="Elgee, Jeffrey (SPAC/PSPC)" userId="e10f0e9c-c03f-4fde-9113-11216b420c44" providerId="ADAL" clId="{8A22DB22-CE08-4237-BAFA-661B83772496}" dt="2024-06-07T19:41:35.730" v="1960" actId="21"/>
          <ac:spMkLst>
            <pc:docMk/>
            <pc:sldMk cId="4155933925" sldId="4984"/>
            <ac:spMk id="11" creationId="{82F5B177-C67A-375D-E48A-2DABED3F8ED2}"/>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65D6F518-B3A5-41F4-BB91-094F93D09B64}"/>
              </pc2:cmMkLst>
            </pc226:cmChg>
            <pc226:cmChg xmlns:pc226="http://schemas.microsoft.com/office/powerpoint/2022/06/main/command" chg="mod">
              <pc226:chgData name="Elgee, Jeffrey (SPAC/PSPC)" userId="e10f0e9c-c03f-4fde-9113-11216b420c44" providerId="ADAL" clId="{8A22DB22-CE08-4237-BAFA-661B83772496}" dt="2024-06-07T19:41:35.730" v="1960" actId="21"/>
              <pc2:cmMkLst xmlns:pc2="http://schemas.microsoft.com/office/powerpoint/2019/9/main/command">
                <pc:docMk/>
                <pc:sldMk cId="4155933925" sldId="4984"/>
                <pc2:cmMk id="{90BDC0CE-7C6D-4B9F-ACBA-DAFCE409FDE5}"/>
              </pc2:cmMkLst>
            </pc226:cmChg>
          </p:ext>
        </pc:extLst>
      </pc:sldChg>
      <pc:sldChg chg="addSp delSp modSp mod modClrScheme chgLayout">
        <pc:chgData name="Elgee, Jeffrey (SPAC/PSPC)" userId="e10f0e9c-c03f-4fde-9113-11216b420c44" providerId="ADAL" clId="{8A22DB22-CE08-4237-BAFA-661B83772496}" dt="2024-06-06T14:59:48.682" v="896" actId="207"/>
        <pc:sldMkLst>
          <pc:docMk/>
          <pc:sldMk cId="625183133" sldId="4986"/>
        </pc:sldMkLst>
        <pc:spChg chg="mod ord">
          <ac:chgData name="Elgee, Jeffrey (SPAC/PSPC)" userId="e10f0e9c-c03f-4fde-9113-11216b420c44" providerId="ADAL" clId="{8A22DB22-CE08-4237-BAFA-661B83772496}" dt="2024-06-06T14:59:28.165" v="892" actId="700"/>
          <ac:spMkLst>
            <pc:docMk/>
            <pc:sldMk cId="625183133" sldId="4986"/>
            <ac:spMk id="2" creationId="{459AFBF6-A3FE-12ED-8681-E058ECB7745D}"/>
          </ac:spMkLst>
        </pc:spChg>
        <pc:spChg chg="mod">
          <ac:chgData name="Elgee, Jeffrey (SPAC/PSPC)" userId="e10f0e9c-c03f-4fde-9113-11216b420c44" providerId="ADAL" clId="{8A22DB22-CE08-4237-BAFA-661B83772496}" dt="2024-06-06T14:59:48.682" v="896" actId="207"/>
          <ac:spMkLst>
            <pc:docMk/>
            <pc:sldMk cId="625183133" sldId="4986"/>
            <ac:spMk id="3" creationId="{CC8B02F3-0C27-03C9-5D56-EC07236B6660}"/>
          </ac:spMkLst>
        </pc:spChg>
        <pc:spChg chg="add del mod ord">
          <ac:chgData name="Elgee, Jeffrey (SPAC/PSPC)" userId="e10f0e9c-c03f-4fde-9113-11216b420c44" providerId="ADAL" clId="{8A22DB22-CE08-4237-BAFA-661B83772496}" dt="2024-06-06T14:59:30.741" v="893" actId="478"/>
          <ac:spMkLst>
            <pc:docMk/>
            <pc:sldMk cId="625183133" sldId="4986"/>
            <ac:spMk id="4" creationId="{1F8E1680-CC93-45A5-2045-A9447E648F11}"/>
          </ac:spMkLst>
        </pc:spChg>
        <pc:spChg chg="add del mod ord">
          <ac:chgData name="Elgee, Jeffrey (SPAC/PSPC)" userId="e10f0e9c-c03f-4fde-9113-11216b420c44" providerId="ADAL" clId="{8A22DB22-CE08-4237-BAFA-661B83772496}" dt="2024-06-06T14:59:34.250" v="894" actId="478"/>
          <ac:spMkLst>
            <pc:docMk/>
            <pc:sldMk cId="625183133" sldId="4986"/>
            <ac:spMk id="5" creationId="{8F31D059-5A65-4A74-FCD6-C364B418E5D7}"/>
          </ac:spMkLst>
        </pc:spChg>
      </pc:sldChg>
      <pc:sldChg chg="del">
        <pc:chgData name="Elgee, Jeffrey (SPAC/PSPC)" userId="e10f0e9c-c03f-4fde-9113-11216b420c44" providerId="ADAL" clId="{8A22DB22-CE08-4237-BAFA-661B83772496}" dt="2024-06-07T18:41:16.474" v="1784" actId="47"/>
        <pc:sldMkLst>
          <pc:docMk/>
          <pc:sldMk cId="2433718045" sldId="4989"/>
        </pc:sldMkLst>
      </pc:sldChg>
      <pc:sldChg chg="modSp mod modCm">
        <pc:chgData name="Elgee, Jeffrey (SPAC/PSPC)" userId="e10f0e9c-c03f-4fde-9113-11216b420c44" providerId="ADAL" clId="{8A22DB22-CE08-4237-BAFA-661B83772496}" dt="2024-06-12T14:02:37.622" v="3537" actId="13926"/>
        <pc:sldMkLst>
          <pc:docMk/>
          <pc:sldMk cId="3633628159" sldId="4991"/>
        </pc:sldMkLst>
        <pc:spChg chg="mod">
          <ac:chgData name="Elgee, Jeffrey (SPAC/PSPC)" userId="e10f0e9c-c03f-4fde-9113-11216b420c44" providerId="ADAL" clId="{8A22DB22-CE08-4237-BAFA-661B83772496}" dt="2024-06-12T14:02:37.622" v="3537" actId="13926"/>
          <ac:spMkLst>
            <pc:docMk/>
            <pc:sldMk cId="3633628159" sldId="4991"/>
            <ac:spMk id="3" creationId="{DCBEA1C2-5E98-4F88-5BBE-88BF7785297A}"/>
          </ac:spMkLst>
        </pc:spChg>
        <pc:spChg chg="mod">
          <ac:chgData name="Elgee, Jeffrey (SPAC/PSPC)" userId="e10f0e9c-c03f-4fde-9113-11216b420c44" providerId="ADAL" clId="{8A22DB22-CE08-4237-BAFA-661B83772496}" dt="2024-06-12T14:02:05.923" v="3505"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e10f0e9c-c03f-4fde-9113-11216b420c44" providerId="ADAL" clId="{8A22DB22-CE08-4237-BAFA-661B83772496}" dt="2024-06-12T14:02:26.206" v="3535" actId="20577"/>
              <pc2:cmMkLst xmlns:pc2="http://schemas.microsoft.com/office/powerpoint/2019/9/main/command">
                <pc:docMk/>
                <pc:sldMk cId="3633628159" sldId="4991"/>
                <pc2:cmMk id="{D2CE9BCC-9530-493F-BC3F-9D47F64F0084}"/>
              </pc2:cmMkLst>
            </pc226:cmChg>
          </p:ext>
        </pc:extLst>
      </pc:sldChg>
      <pc:sldChg chg="modSp mod">
        <pc:chgData name="Elgee, Jeffrey (SPAC/PSPC)" userId="e10f0e9c-c03f-4fde-9113-11216b420c44" providerId="ADAL" clId="{8A22DB22-CE08-4237-BAFA-661B83772496}" dt="2024-06-12T13:55:24.034" v="3402" actId="20577"/>
        <pc:sldMkLst>
          <pc:docMk/>
          <pc:sldMk cId="388099589" sldId="4992"/>
        </pc:sldMkLst>
        <pc:spChg chg="mod">
          <ac:chgData name="Elgee, Jeffrey (SPAC/PSPC)" userId="e10f0e9c-c03f-4fde-9113-11216b420c44" providerId="ADAL" clId="{8A22DB22-CE08-4237-BAFA-661B83772496}" dt="2024-06-12T13:55:24.034" v="3402" actId="20577"/>
          <ac:spMkLst>
            <pc:docMk/>
            <pc:sldMk cId="388099589" sldId="4992"/>
            <ac:spMk id="15" creationId="{2A224E51-C8E2-AF04-0A70-65F6548C9FA5}"/>
          </ac:spMkLst>
        </pc:spChg>
        <pc:spChg chg="mod">
          <ac:chgData name="Elgee, Jeffrey (SPAC/PSPC)" userId="e10f0e9c-c03f-4fde-9113-11216b420c44" providerId="ADAL" clId="{8A22DB22-CE08-4237-BAFA-661B83772496}" dt="2024-06-11T13:10:43.262" v="3171" actId="1036"/>
          <ac:spMkLst>
            <pc:docMk/>
            <pc:sldMk cId="388099589" sldId="4992"/>
            <ac:spMk id="16" creationId="{DDBAA832-5D5B-F155-4F32-06C89A6062D9}"/>
          </ac:spMkLst>
        </pc:spChg>
        <pc:spChg chg="mod">
          <ac:chgData name="Elgee, Jeffrey (SPAC/PSPC)" userId="e10f0e9c-c03f-4fde-9113-11216b420c44" providerId="ADAL" clId="{8A22DB22-CE08-4237-BAFA-661B83772496}" dt="2024-06-11T13:10:43.262" v="3171" actId="1036"/>
          <ac:spMkLst>
            <pc:docMk/>
            <pc:sldMk cId="388099589" sldId="4992"/>
            <ac:spMk id="17" creationId="{03D46260-31B6-3CBA-D6E4-2A34CD363B83}"/>
          </ac:spMkLst>
        </pc:spChg>
        <pc:spChg chg="mod">
          <ac:chgData name="Elgee, Jeffrey (SPAC/PSPC)" userId="e10f0e9c-c03f-4fde-9113-11216b420c44" providerId="ADAL" clId="{8A22DB22-CE08-4237-BAFA-661B83772496}" dt="2024-06-11T13:10:43.262" v="3171" actId="1036"/>
          <ac:spMkLst>
            <pc:docMk/>
            <pc:sldMk cId="388099589" sldId="4992"/>
            <ac:spMk id="18" creationId="{4EF912C3-D6D2-8ADB-9455-F0BB3EFD9484}"/>
          </ac:spMkLst>
        </pc:spChg>
        <pc:spChg chg="mod">
          <ac:chgData name="Elgee, Jeffrey (SPAC/PSPC)" userId="e10f0e9c-c03f-4fde-9113-11216b420c44" providerId="ADAL" clId="{8A22DB22-CE08-4237-BAFA-661B83772496}" dt="2024-06-11T13:10:43.262" v="3171" actId="1036"/>
          <ac:spMkLst>
            <pc:docMk/>
            <pc:sldMk cId="388099589" sldId="4992"/>
            <ac:spMk id="19" creationId="{5DABBC32-D0F2-5FB4-F32B-6ACB5C70FCBB}"/>
          </ac:spMkLst>
        </pc:spChg>
        <pc:picChg chg="mod">
          <ac:chgData name="Elgee, Jeffrey (SPAC/PSPC)" userId="e10f0e9c-c03f-4fde-9113-11216b420c44" providerId="ADAL" clId="{8A22DB22-CE08-4237-BAFA-661B83772496}" dt="2024-06-11T13:10:43.262" v="3171" actId="1036"/>
          <ac:picMkLst>
            <pc:docMk/>
            <pc:sldMk cId="388099589" sldId="4992"/>
            <ac:picMk id="9" creationId="{CFECC87B-723E-8826-6C4D-682E01302215}"/>
          </ac:picMkLst>
        </pc:picChg>
        <pc:picChg chg="mod">
          <ac:chgData name="Elgee, Jeffrey (SPAC/PSPC)" userId="e10f0e9c-c03f-4fde-9113-11216b420c44" providerId="ADAL" clId="{8A22DB22-CE08-4237-BAFA-661B83772496}" dt="2024-06-11T13:10:43.262" v="3171" actId="1036"/>
          <ac:picMkLst>
            <pc:docMk/>
            <pc:sldMk cId="388099589" sldId="4992"/>
            <ac:picMk id="10" creationId="{EE1B7117-FE8F-8104-AF1D-A9871CD54FDE}"/>
          </ac:picMkLst>
        </pc:picChg>
        <pc:picChg chg="mod">
          <ac:chgData name="Elgee, Jeffrey (SPAC/PSPC)" userId="e10f0e9c-c03f-4fde-9113-11216b420c44" providerId="ADAL" clId="{8A22DB22-CE08-4237-BAFA-661B83772496}" dt="2024-06-11T13:10:43.262" v="3171" actId="1036"/>
          <ac:picMkLst>
            <pc:docMk/>
            <pc:sldMk cId="388099589" sldId="4992"/>
            <ac:picMk id="11" creationId="{0A95C047-D6CC-A24A-9FFE-34EA9062B06B}"/>
          </ac:picMkLst>
        </pc:picChg>
        <pc:picChg chg="mod">
          <ac:chgData name="Elgee, Jeffrey (SPAC/PSPC)" userId="e10f0e9c-c03f-4fde-9113-11216b420c44" providerId="ADAL" clId="{8A22DB22-CE08-4237-BAFA-661B83772496}" dt="2024-06-11T13:10:43.262" v="3171" actId="1036"/>
          <ac:picMkLst>
            <pc:docMk/>
            <pc:sldMk cId="388099589" sldId="4992"/>
            <ac:picMk id="13" creationId="{1BFE9BF1-5E6A-A995-0D24-DB7A9C3633D8}"/>
          </ac:picMkLst>
        </pc:picChg>
      </pc:sldChg>
      <pc:sldChg chg="addSp delSp modSp mod">
        <pc:chgData name="Elgee, Jeffrey (SPAC/PSPC)" userId="e10f0e9c-c03f-4fde-9113-11216b420c44" providerId="ADAL" clId="{8A22DB22-CE08-4237-BAFA-661B83772496}" dt="2024-06-10T20:41:50.960" v="2847" actId="207"/>
        <pc:sldMkLst>
          <pc:docMk/>
          <pc:sldMk cId="3248544414" sldId="4993"/>
        </pc:sldMkLst>
        <pc:spChg chg="add mod">
          <ac:chgData name="Elgee, Jeffrey (SPAC/PSPC)" userId="e10f0e9c-c03f-4fde-9113-11216b420c44" providerId="ADAL" clId="{8A22DB22-CE08-4237-BAFA-661B83772496}" dt="2024-06-10T20:39:46.958" v="2840" actId="1076"/>
          <ac:spMkLst>
            <pc:docMk/>
            <pc:sldMk cId="3248544414" sldId="4993"/>
            <ac:spMk id="2" creationId="{614254A6-86DE-4A21-B094-C9AE8BEEF21A}"/>
          </ac:spMkLst>
        </pc:spChg>
        <pc:spChg chg="add del mod ord">
          <ac:chgData name="Elgee, Jeffrey (SPAC/PSPC)" userId="e10f0e9c-c03f-4fde-9113-11216b420c44" providerId="ADAL" clId="{8A22DB22-CE08-4237-BAFA-661B83772496}" dt="2024-06-10T20:32:44.711" v="2690" actId="478"/>
          <ac:spMkLst>
            <pc:docMk/>
            <pc:sldMk cId="3248544414" sldId="4993"/>
            <ac:spMk id="3" creationId="{F95CECA6-4A4E-156D-139A-E979F1D2ABB8}"/>
          </ac:spMkLst>
        </pc:spChg>
        <pc:spChg chg="add del mod ord">
          <ac:chgData name="Elgee, Jeffrey (SPAC/PSPC)" userId="e10f0e9c-c03f-4fde-9113-11216b420c44" providerId="ADAL" clId="{8A22DB22-CE08-4237-BAFA-661B83772496}" dt="2024-06-10T20:32:46.766" v="2691" actId="478"/>
          <ac:spMkLst>
            <pc:docMk/>
            <pc:sldMk cId="3248544414" sldId="4993"/>
            <ac:spMk id="4" creationId="{FB8393D0-540E-520F-3722-304A8B9E4A6E}"/>
          </ac:spMkLst>
        </pc:spChg>
        <pc:spChg chg="add mod ord">
          <ac:chgData name="Elgee, Jeffrey (SPAC/PSPC)" userId="e10f0e9c-c03f-4fde-9113-11216b420c44" providerId="ADAL" clId="{8A22DB22-CE08-4237-BAFA-661B83772496}" dt="2024-06-10T20:31:44.996" v="2687" actId="171"/>
          <ac:spMkLst>
            <pc:docMk/>
            <pc:sldMk cId="3248544414" sldId="4993"/>
            <ac:spMk id="7" creationId="{11FE5FBD-BEBD-50CC-7437-2E3DD1DE0A7B}"/>
          </ac:spMkLst>
        </pc:spChg>
        <pc:spChg chg="add mod">
          <ac:chgData name="Elgee, Jeffrey (SPAC/PSPC)" userId="e10f0e9c-c03f-4fde-9113-11216b420c44" providerId="ADAL" clId="{8A22DB22-CE08-4237-BAFA-661B83772496}" dt="2024-06-10T20:39:10.958" v="2839" actId="1076"/>
          <ac:spMkLst>
            <pc:docMk/>
            <pc:sldMk cId="3248544414" sldId="4993"/>
            <ac:spMk id="10" creationId="{2EA7841F-B628-5763-87F4-5C2C97873218}"/>
          </ac:spMkLst>
        </pc:spChg>
        <pc:spChg chg="add mod">
          <ac:chgData name="Elgee, Jeffrey (SPAC/PSPC)" userId="e10f0e9c-c03f-4fde-9113-11216b420c44" providerId="ADAL" clId="{8A22DB22-CE08-4237-BAFA-661B83772496}" dt="2024-06-10T20:41:50.960" v="2847" actId="207"/>
          <ac:spMkLst>
            <pc:docMk/>
            <pc:sldMk cId="3248544414" sldId="4993"/>
            <ac:spMk id="13" creationId="{F4B3BF70-A09E-2CC1-D775-70C144DE22D1}"/>
          </ac:spMkLst>
        </pc:spChg>
        <pc:spChg chg="add mod">
          <ac:chgData name="Elgee, Jeffrey (SPAC/PSPC)" userId="e10f0e9c-c03f-4fde-9113-11216b420c44" providerId="ADAL" clId="{8A22DB22-CE08-4237-BAFA-661B83772496}" dt="2024-06-10T20:35:05.905" v="2702" actId="207"/>
          <ac:spMkLst>
            <pc:docMk/>
            <pc:sldMk cId="3248544414" sldId="4993"/>
            <ac:spMk id="14" creationId="{705E2902-213A-038E-CD60-7DF9BC6FF44E}"/>
          </ac:spMkLst>
        </pc:spChg>
        <pc:spChg chg="add del mod">
          <ac:chgData name="Elgee, Jeffrey (SPAC/PSPC)" userId="e10f0e9c-c03f-4fde-9113-11216b420c44" providerId="ADAL" clId="{8A22DB22-CE08-4237-BAFA-661B83772496}" dt="2024-06-10T20:36:12.027" v="2753"/>
          <ac:spMkLst>
            <pc:docMk/>
            <pc:sldMk cId="3248544414" sldId="4993"/>
            <ac:spMk id="15" creationId="{E5B14897-622A-D654-EBCD-A229EBDDE60C}"/>
          </ac:spMkLst>
        </pc:spChg>
        <pc:cxnChg chg="add del mod">
          <ac:chgData name="Elgee, Jeffrey (SPAC/PSPC)" userId="e10f0e9c-c03f-4fde-9113-11216b420c44" providerId="ADAL" clId="{8A22DB22-CE08-4237-BAFA-661B83772496}" dt="2024-06-10T20:31:39.056" v="2684" actId="478"/>
          <ac:cxnSpMkLst>
            <pc:docMk/>
            <pc:sldMk cId="3248544414" sldId="4993"/>
            <ac:cxnSpMk id="6" creationId="{4A0C8D12-0286-58EA-F2E2-B65FA972559B}"/>
          </ac:cxnSpMkLst>
        </pc:cxnChg>
      </pc:sldChg>
      <pc:sldChg chg="addSp modSp mod">
        <pc:chgData name="Elgee, Jeffrey (SPAC/PSPC)" userId="e10f0e9c-c03f-4fde-9113-11216b420c44" providerId="ADAL" clId="{8A22DB22-CE08-4237-BAFA-661B83772496}" dt="2024-06-11T12:56:55.173" v="2851" actId="1076"/>
        <pc:sldMkLst>
          <pc:docMk/>
          <pc:sldMk cId="2239565128" sldId="4994"/>
        </pc:sldMkLst>
        <pc:spChg chg="mod">
          <ac:chgData name="Elgee, Jeffrey (SPAC/PSPC)" userId="e10f0e9c-c03f-4fde-9113-11216b420c44" providerId="ADAL" clId="{8A22DB22-CE08-4237-BAFA-661B83772496}" dt="2024-06-10T20:41:57.616" v="2848" actId="1076"/>
          <ac:spMkLst>
            <pc:docMk/>
            <pc:sldMk cId="2239565128" sldId="4994"/>
            <ac:spMk id="3" creationId="{1CEF9E92-F5EA-929E-089A-77CB316CD4E6}"/>
          </ac:spMkLst>
        </pc:spChg>
        <pc:spChg chg="add mod">
          <ac:chgData name="Elgee, Jeffrey (SPAC/PSPC)" userId="e10f0e9c-c03f-4fde-9113-11216b420c44" providerId="ADAL" clId="{8A22DB22-CE08-4237-BAFA-661B83772496}" dt="2024-06-10T20:39:56.956" v="2841"/>
          <ac:spMkLst>
            <pc:docMk/>
            <pc:sldMk cId="2239565128" sldId="4994"/>
            <ac:spMk id="5" creationId="{0DB8AB1F-8B9B-4496-7C93-FAF0EC2E698C}"/>
          </ac:spMkLst>
        </pc:spChg>
        <pc:spChg chg="add mod">
          <ac:chgData name="Elgee, Jeffrey (SPAC/PSPC)" userId="e10f0e9c-c03f-4fde-9113-11216b420c44" providerId="ADAL" clId="{8A22DB22-CE08-4237-BAFA-661B83772496}" dt="2024-06-10T20:39:56.956" v="2841"/>
          <ac:spMkLst>
            <pc:docMk/>
            <pc:sldMk cId="2239565128" sldId="4994"/>
            <ac:spMk id="6" creationId="{F715877D-604B-5BB3-35EB-0768F76A7262}"/>
          </ac:spMkLst>
        </pc:spChg>
        <pc:spChg chg="add mod">
          <ac:chgData name="Elgee, Jeffrey (SPAC/PSPC)" userId="e10f0e9c-c03f-4fde-9113-11216b420c44" providerId="ADAL" clId="{8A22DB22-CE08-4237-BAFA-661B83772496}" dt="2024-06-10T20:40:53.119" v="2844" actId="207"/>
          <ac:spMkLst>
            <pc:docMk/>
            <pc:sldMk cId="2239565128" sldId="4994"/>
            <ac:spMk id="7" creationId="{65BCB892-EF0D-A743-67D4-7E90660123AE}"/>
          </ac:spMkLst>
        </pc:spChg>
        <pc:spChg chg="mod">
          <ac:chgData name="Elgee, Jeffrey (SPAC/PSPC)" userId="e10f0e9c-c03f-4fde-9113-11216b420c44" providerId="ADAL" clId="{8A22DB22-CE08-4237-BAFA-661B83772496}" dt="2024-06-11T12:56:50.081" v="2850" actId="1076"/>
          <ac:spMkLst>
            <pc:docMk/>
            <pc:sldMk cId="2239565128" sldId="4994"/>
            <ac:spMk id="8" creationId="{D1BB5A4D-1910-BA41-710E-649A068A1729}"/>
          </ac:spMkLst>
        </pc:spChg>
        <pc:spChg chg="add mod">
          <ac:chgData name="Elgee, Jeffrey (SPAC/PSPC)" userId="e10f0e9c-c03f-4fde-9113-11216b420c44" providerId="ADAL" clId="{8A22DB22-CE08-4237-BAFA-661B83772496}" dt="2024-06-10T20:39:56.956" v="2841"/>
          <ac:spMkLst>
            <pc:docMk/>
            <pc:sldMk cId="2239565128" sldId="4994"/>
            <ac:spMk id="9" creationId="{2DD825DD-EDA7-D393-CBBC-F70A3613D025}"/>
          </ac:spMkLst>
        </pc:spChg>
        <pc:picChg chg="mod">
          <ac:chgData name="Elgee, Jeffrey (SPAC/PSPC)" userId="e10f0e9c-c03f-4fde-9113-11216b420c44" providerId="ADAL" clId="{8A22DB22-CE08-4237-BAFA-661B83772496}" dt="2024-06-11T12:56:55.173" v="2851" actId="1076"/>
          <ac:picMkLst>
            <pc:docMk/>
            <pc:sldMk cId="2239565128" sldId="4994"/>
            <ac:picMk id="10" creationId="{649C34E2-70D1-0A87-6777-DB0F9299F57D}"/>
          </ac:picMkLst>
        </pc:picChg>
      </pc:sldChg>
      <pc:sldChg chg="addSp modSp mod">
        <pc:chgData name="Elgee, Jeffrey (SPAC/PSPC)" userId="e10f0e9c-c03f-4fde-9113-11216b420c44" providerId="ADAL" clId="{8A22DB22-CE08-4237-BAFA-661B83772496}" dt="2024-06-11T12:57:29.387" v="2855" actId="1076"/>
        <pc:sldMkLst>
          <pc:docMk/>
          <pc:sldMk cId="4226407642" sldId="4995"/>
        </pc:sldMkLst>
        <pc:spChg chg="mod">
          <ac:chgData name="Elgee, Jeffrey (SPAC/PSPC)" userId="e10f0e9c-c03f-4fde-9113-11216b420c44" providerId="ADAL" clId="{8A22DB22-CE08-4237-BAFA-661B83772496}" dt="2024-06-10T20:42:09.785" v="2849" actId="1076"/>
          <ac:spMkLst>
            <pc:docMk/>
            <pc:sldMk cId="4226407642" sldId="4995"/>
            <ac:spMk id="4" creationId="{7A3D9691-2EF5-8BFD-F0A0-97FB021A1A74}"/>
          </ac:spMkLst>
        </pc:spChg>
        <pc:spChg chg="add mod">
          <ac:chgData name="Elgee, Jeffrey (SPAC/PSPC)" userId="e10f0e9c-c03f-4fde-9113-11216b420c44" providerId="ADAL" clId="{8A22DB22-CE08-4237-BAFA-661B83772496}" dt="2024-06-10T20:40:04.357" v="2842"/>
          <ac:spMkLst>
            <pc:docMk/>
            <pc:sldMk cId="4226407642" sldId="4995"/>
            <ac:spMk id="5" creationId="{3AF382B0-CF9B-A225-DAC3-91E4DC739F0E}"/>
          </ac:spMkLst>
        </pc:spChg>
        <pc:spChg chg="add mod">
          <ac:chgData name="Elgee, Jeffrey (SPAC/PSPC)" userId="e10f0e9c-c03f-4fde-9113-11216b420c44" providerId="ADAL" clId="{8A22DB22-CE08-4237-BAFA-661B83772496}" dt="2024-06-10T20:40:04.357" v="2842"/>
          <ac:spMkLst>
            <pc:docMk/>
            <pc:sldMk cId="4226407642" sldId="4995"/>
            <ac:spMk id="6" creationId="{36B4E3C3-6632-BA27-182C-1B25B7AEF54E}"/>
          </ac:spMkLst>
        </pc:spChg>
        <pc:spChg chg="add mod">
          <ac:chgData name="Elgee, Jeffrey (SPAC/PSPC)" userId="e10f0e9c-c03f-4fde-9113-11216b420c44" providerId="ADAL" clId="{8A22DB22-CE08-4237-BAFA-661B83772496}" dt="2024-06-10T20:41:03.414" v="2845" actId="207"/>
          <ac:spMkLst>
            <pc:docMk/>
            <pc:sldMk cId="4226407642" sldId="4995"/>
            <ac:spMk id="7" creationId="{33AF2F1C-BD54-D8B3-1754-2F72DB1B66B5}"/>
          </ac:spMkLst>
        </pc:spChg>
        <pc:spChg chg="mod">
          <ac:chgData name="Elgee, Jeffrey (SPAC/PSPC)" userId="e10f0e9c-c03f-4fde-9113-11216b420c44" providerId="ADAL" clId="{8A22DB22-CE08-4237-BAFA-661B83772496}" dt="2024-06-11T12:57:25.125" v="2854" actId="1076"/>
          <ac:spMkLst>
            <pc:docMk/>
            <pc:sldMk cId="4226407642" sldId="4995"/>
            <ac:spMk id="8" creationId="{A9FC7316-1608-7A0F-764B-4353EE47E850}"/>
          </ac:spMkLst>
        </pc:spChg>
        <pc:spChg chg="mod">
          <ac:chgData name="Elgee, Jeffrey (SPAC/PSPC)" userId="e10f0e9c-c03f-4fde-9113-11216b420c44" providerId="ADAL" clId="{8A22DB22-CE08-4237-BAFA-661B83772496}" dt="2024-06-11T12:57:11.237" v="2852" actId="1076"/>
          <ac:spMkLst>
            <pc:docMk/>
            <pc:sldMk cId="4226407642" sldId="4995"/>
            <ac:spMk id="9" creationId="{124B1481-76CC-FA32-D369-30B4187EED5E}"/>
          </ac:spMkLst>
        </pc:spChg>
        <pc:spChg chg="add mod">
          <ac:chgData name="Elgee, Jeffrey (SPAC/PSPC)" userId="e10f0e9c-c03f-4fde-9113-11216b420c44" providerId="ADAL" clId="{8A22DB22-CE08-4237-BAFA-661B83772496}" dt="2024-06-10T20:40:04.357" v="2842"/>
          <ac:spMkLst>
            <pc:docMk/>
            <pc:sldMk cId="4226407642" sldId="4995"/>
            <ac:spMk id="10" creationId="{2984CE5A-C990-A28E-2791-EDDE1CF47789}"/>
          </ac:spMkLst>
        </pc:spChg>
        <pc:picChg chg="mod">
          <ac:chgData name="Elgee, Jeffrey (SPAC/PSPC)" userId="e10f0e9c-c03f-4fde-9113-11216b420c44" providerId="ADAL" clId="{8A22DB22-CE08-4237-BAFA-661B83772496}" dt="2024-06-11T12:57:29.387" v="2855" actId="1076"/>
          <ac:picMkLst>
            <pc:docMk/>
            <pc:sldMk cId="4226407642" sldId="4995"/>
            <ac:picMk id="2" creationId="{03259ACC-662B-55A1-3304-5078DC7A15E1}"/>
          </ac:picMkLst>
        </pc:picChg>
        <pc:picChg chg="mod">
          <ac:chgData name="Elgee, Jeffrey (SPAC/PSPC)" userId="e10f0e9c-c03f-4fde-9113-11216b420c44" providerId="ADAL" clId="{8A22DB22-CE08-4237-BAFA-661B83772496}" dt="2024-06-11T12:57:14.455" v="2853" actId="1076"/>
          <ac:picMkLst>
            <pc:docMk/>
            <pc:sldMk cId="4226407642" sldId="4995"/>
            <ac:picMk id="3" creationId="{BB42B956-14DC-C5BC-5D9D-A8B3CC1EC9A0}"/>
          </ac:picMkLst>
        </pc:picChg>
      </pc:sldChg>
      <pc:sldChg chg="addSp modSp mod">
        <pc:chgData name="Elgee, Jeffrey (SPAC/PSPC)" userId="e10f0e9c-c03f-4fde-9113-11216b420c44" providerId="ADAL" clId="{8A22DB22-CE08-4237-BAFA-661B83772496}" dt="2024-06-10T20:41:41.220" v="2846" actId="207"/>
        <pc:sldMkLst>
          <pc:docMk/>
          <pc:sldMk cId="502785453" sldId="4996"/>
        </pc:sldMkLst>
        <pc:spChg chg="add mod">
          <ac:chgData name="Elgee, Jeffrey (SPAC/PSPC)" userId="e10f0e9c-c03f-4fde-9113-11216b420c44" providerId="ADAL" clId="{8A22DB22-CE08-4237-BAFA-661B83772496}" dt="2024-06-10T20:40:07.098" v="2843"/>
          <ac:spMkLst>
            <pc:docMk/>
            <pc:sldMk cId="502785453" sldId="4996"/>
            <ac:spMk id="6" creationId="{EF091605-F6FC-7D7E-D89A-A8AEA2E1B592}"/>
          </ac:spMkLst>
        </pc:spChg>
        <pc:spChg chg="add mod">
          <ac:chgData name="Elgee, Jeffrey (SPAC/PSPC)" userId="e10f0e9c-c03f-4fde-9113-11216b420c44" providerId="ADAL" clId="{8A22DB22-CE08-4237-BAFA-661B83772496}" dt="2024-06-10T20:40:07.098" v="2843"/>
          <ac:spMkLst>
            <pc:docMk/>
            <pc:sldMk cId="502785453" sldId="4996"/>
            <ac:spMk id="8" creationId="{5511E82C-3A1B-BF95-28C3-77F1A9151DD2}"/>
          </ac:spMkLst>
        </pc:spChg>
        <pc:spChg chg="add mod">
          <ac:chgData name="Elgee, Jeffrey (SPAC/PSPC)" userId="e10f0e9c-c03f-4fde-9113-11216b420c44" providerId="ADAL" clId="{8A22DB22-CE08-4237-BAFA-661B83772496}" dt="2024-06-10T20:41:41.220" v="2846" actId="207"/>
          <ac:spMkLst>
            <pc:docMk/>
            <pc:sldMk cId="502785453" sldId="4996"/>
            <ac:spMk id="9" creationId="{E3BE9AD9-A9C4-4B02-2972-9BDFAE350BBA}"/>
          </ac:spMkLst>
        </pc:spChg>
        <pc:spChg chg="add mod">
          <ac:chgData name="Elgee, Jeffrey (SPAC/PSPC)" userId="e10f0e9c-c03f-4fde-9113-11216b420c44" providerId="ADAL" clId="{8A22DB22-CE08-4237-BAFA-661B83772496}" dt="2024-06-10T20:40:07.098" v="2843"/>
          <ac:spMkLst>
            <pc:docMk/>
            <pc:sldMk cId="502785453" sldId="4996"/>
            <ac:spMk id="10" creationId="{B643013A-181B-E5F1-52DA-14D2C58B2195}"/>
          </ac:spMkLst>
        </pc:spChg>
      </pc:sldChg>
      <pc:sldChg chg="addSp delSp modSp mod modClrScheme chgLayout modNotesTx">
        <pc:chgData name="Elgee, Jeffrey (SPAC/PSPC)" userId="e10f0e9c-c03f-4fde-9113-11216b420c44" providerId="ADAL" clId="{8A22DB22-CE08-4237-BAFA-661B83772496}" dt="2024-06-06T14:58:20.767" v="888" actId="1076"/>
        <pc:sldMkLst>
          <pc:docMk/>
          <pc:sldMk cId="581567723" sldId="4998"/>
        </pc:sldMkLst>
        <pc:spChg chg="mod ord">
          <ac:chgData name="Elgee, Jeffrey (SPAC/PSPC)" userId="e10f0e9c-c03f-4fde-9113-11216b420c44" providerId="ADAL" clId="{8A22DB22-CE08-4237-BAFA-661B83772496}" dt="2024-06-06T14:57:04.339" v="880" actId="700"/>
          <ac:spMkLst>
            <pc:docMk/>
            <pc:sldMk cId="581567723" sldId="4998"/>
            <ac:spMk id="2" creationId="{9DE119AA-C27C-1F93-8533-D6E1F56A43A8}"/>
          </ac:spMkLst>
        </pc:spChg>
        <pc:spChg chg="del mod">
          <ac:chgData name="Elgee, Jeffrey (SPAC/PSPC)" userId="e10f0e9c-c03f-4fde-9113-11216b420c44" providerId="ADAL" clId="{8A22DB22-CE08-4237-BAFA-661B83772496}" dt="2024-06-06T14:58:05.127" v="887"/>
          <ac:spMkLst>
            <pc:docMk/>
            <pc:sldMk cId="581567723" sldId="4998"/>
            <ac:spMk id="3" creationId="{DCB1C657-83E0-7559-CD35-A0F89A43A85C}"/>
          </ac:spMkLst>
        </pc:spChg>
        <pc:spChg chg="add del mod ord">
          <ac:chgData name="Elgee, Jeffrey (SPAC/PSPC)" userId="e10f0e9c-c03f-4fde-9113-11216b420c44" providerId="ADAL" clId="{8A22DB22-CE08-4237-BAFA-661B83772496}" dt="2024-06-06T14:57:12.019" v="881" actId="478"/>
          <ac:spMkLst>
            <pc:docMk/>
            <pc:sldMk cId="581567723" sldId="4998"/>
            <ac:spMk id="4" creationId="{D9038F16-74AC-2AF2-5842-E77D8764AB97}"/>
          </ac:spMkLst>
        </pc:spChg>
        <pc:spChg chg="add del mod ord">
          <ac:chgData name="Elgee, Jeffrey (SPAC/PSPC)" userId="e10f0e9c-c03f-4fde-9113-11216b420c44" providerId="ADAL" clId="{8A22DB22-CE08-4237-BAFA-661B83772496}" dt="2024-06-06T14:57:15.099" v="882" actId="478"/>
          <ac:spMkLst>
            <pc:docMk/>
            <pc:sldMk cId="581567723" sldId="4998"/>
            <ac:spMk id="5" creationId="{83821B7C-6CE3-92A9-A74D-938185BBD8A4}"/>
          </ac:spMkLst>
        </pc:spChg>
        <pc:spChg chg="mod">
          <ac:chgData name="Elgee, Jeffrey (SPAC/PSPC)" userId="e10f0e9c-c03f-4fde-9113-11216b420c44" providerId="ADAL" clId="{8A22DB22-CE08-4237-BAFA-661B83772496}" dt="2024-06-06T13:38:13.865" v="309" actId="1035"/>
          <ac:spMkLst>
            <pc:docMk/>
            <pc:sldMk cId="581567723" sldId="4998"/>
            <ac:spMk id="115" creationId="{99B313E4-68F8-0E05-784F-777B53C53AD8}"/>
          </ac:spMkLst>
        </pc:spChg>
        <pc:spChg chg="mod">
          <ac:chgData name="Elgee, Jeffrey (SPAC/PSPC)" userId="e10f0e9c-c03f-4fde-9113-11216b420c44" providerId="ADAL" clId="{8A22DB22-CE08-4237-BAFA-661B83772496}" dt="2024-06-06T14:58:20.767" v="888" actId="1076"/>
          <ac:spMkLst>
            <pc:docMk/>
            <pc:sldMk cId="581567723" sldId="4998"/>
            <ac:spMk id="116" creationId="{D977104C-37CA-F758-7243-30B07DD8013A}"/>
          </ac:spMkLst>
        </pc:spChg>
        <pc:spChg chg="mod">
          <ac:chgData name="Elgee, Jeffrey (SPAC/PSPC)" userId="e10f0e9c-c03f-4fde-9113-11216b420c44" providerId="ADAL" clId="{8A22DB22-CE08-4237-BAFA-661B83772496}" dt="2024-06-06T13:39:39.642" v="372" actId="113"/>
          <ac:spMkLst>
            <pc:docMk/>
            <pc:sldMk cId="581567723" sldId="4998"/>
            <ac:spMk id="117" creationId="{C9DAC2A6-C89F-2DC3-5552-32890189A83F}"/>
          </ac:spMkLst>
        </pc:spChg>
        <pc:spChg chg="mod">
          <ac:chgData name="Elgee, Jeffrey (SPAC/PSPC)" userId="e10f0e9c-c03f-4fde-9113-11216b420c44" providerId="ADAL" clId="{8A22DB22-CE08-4237-BAFA-661B83772496}" dt="2024-06-06T13:39:55.051" v="374" actId="13926"/>
          <ac:spMkLst>
            <pc:docMk/>
            <pc:sldMk cId="581567723" sldId="4998"/>
            <ac:spMk id="118" creationId="{03606830-0145-BF89-5080-5EDD4851A9CA}"/>
          </ac:spMkLst>
        </pc:spChg>
        <pc:spChg chg="mod">
          <ac:chgData name="Elgee, Jeffrey (SPAC/PSPC)" userId="e10f0e9c-c03f-4fde-9113-11216b420c44" providerId="ADAL" clId="{8A22DB22-CE08-4237-BAFA-661B83772496}" dt="2024-06-06T13:40:22.881" v="396" actId="207"/>
          <ac:spMkLst>
            <pc:docMk/>
            <pc:sldMk cId="581567723" sldId="4998"/>
            <ac:spMk id="122" creationId="{A9D90BF1-5FA9-70F0-2114-74B647F61343}"/>
          </ac:spMkLst>
        </pc:spChg>
        <pc:spChg chg="mod">
          <ac:chgData name="Elgee, Jeffrey (SPAC/PSPC)" userId="e10f0e9c-c03f-4fde-9113-11216b420c44" providerId="ADAL" clId="{8A22DB22-CE08-4237-BAFA-661B83772496}" dt="2024-06-06T13:44:24.991" v="418" actId="207"/>
          <ac:spMkLst>
            <pc:docMk/>
            <pc:sldMk cId="581567723" sldId="4998"/>
            <ac:spMk id="123" creationId="{96958ADE-A4CF-B97E-6CC3-E67FA3D6703E}"/>
          </ac:spMkLst>
        </pc:spChg>
        <pc:spChg chg="del mod">
          <ac:chgData name="Elgee, Jeffrey (SPAC/PSPC)" userId="e10f0e9c-c03f-4fde-9113-11216b420c44" providerId="ADAL" clId="{8A22DB22-CE08-4237-BAFA-661B83772496}" dt="2024-06-06T13:37:51.723" v="288" actId="478"/>
          <ac:spMkLst>
            <pc:docMk/>
            <pc:sldMk cId="581567723" sldId="4998"/>
            <ac:spMk id="124" creationId="{D42E50EC-09BD-1D9A-3AA5-B3779C9D68F8}"/>
          </ac:spMkLst>
        </pc:spChg>
        <pc:spChg chg="mod">
          <ac:chgData name="Elgee, Jeffrey (SPAC/PSPC)" userId="e10f0e9c-c03f-4fde-9113-11216b420c44" providerId="ADAL" clId="{8A22DB22-CE08-4237-BAFA-661B83772496}" dt="2024-06-06T13:41:40.064" v="402" actId="13926"/>
          <ac:spMkLst>
            <pc:docMk/>
            <pc:sldMk cId="581567723" sldId="4998"/>
            <ac:spMk id="125" creationId="{C3A1B379-6571-1C49-58FA-89CBE354E722}"/>
          </ac:spMkLst>
        </pc:spChg>
        <pc:spChg chg="mod">
          <ac:chgData name="Elgee, Jeffrey (SPAC/PSPC)" userId="e10f0e9c-c03f-4fde-9113-11216b420c44" providerId="ADAL" clId="{8A22DB22-CE08-4237-BAFA-661B83772496}" dt="2024-06-06T13:44:07.841" v="416" actId="207"/>
          <ac:spMkLst>
            <pc:docMk/>
            <pc:sldMk cId="581567723" sldId="4998"/>
            <ac:spMk id="126" creationId="{1D166D08-6E2D-80DD-6808-092F6378AC03}"/>
          </ac:spMkLst>
        </pc:spChg>
        <pc:spChg chg="del">
          <ac:chgData name="Elgee, Jeffrey (SPAC/PSPC)" userId="e10f0e9c-c03f-4fde-9113-11216b420c44" providerId="ADAL" clId="{8A22DB22-CE08-4237-BAFA-661B83772496}" dt="2024-06-06T13:38:18.968" v="310" actId="478"/>
          <ac:spMkLst>
            <pc:docMk/>
            <pc:sldMk cId="581567723" sldId="4998"/>
            <ac:spMk id="127" creationId="{66533980-1485-F682-A323-EED21142DA01}"/>
          </ac:spMkLst>
        </pc:spChg>
        <pc:spChg chg="mod">
          <ac:chgData name="Elgee, Jeffrey (SPAC/PSPC)" userId="e10f0e9c-c03f-4fde-9113-11216b420c44" providerId="ADAL" clId="{8A22DB22-CE08-4237-BAFA-661B83772496}" dt="2024-06-06T13:38:13.865" v="309" actId="1035"/>
          <ac:spMkLst>
            <pc:docMk/>
            <pc:sldMk cId="581567723" sldId="4998"/>
            <ac:spMk id="130" creationId="{37927CF3-81AF-9EC4-5FAE-0F465D84F953}"/>
          </ac:spMkLst>
        </pc:spChg>
        <pc:spChg chg="mod">
          <ac:chgData name="Elgee, Jeffrey (SPAC/PSPC)" userId="e10f0e9c-c03f-4fde-9113-11216b420c44" providerId="ADAL" clId="{8A22DB22-CE08-4237-BAFA-661B83772496}" dt="2024-06-06T13:38:29.918" v="327" actId="1035"/>
          <ac:spMkLst>
            <pc:docMk/>
            <pc:sldMk cId="581567723" sldId="4998"/>
            <ac:spMk id="131" creationId="{F71F5B42-71A6-85F9-508A-7ED7FF32727F}"/>
          </ac:spMkLst>
        </pc:spChg>
        <pc:spChg chg="mod">
          <ac:chgData name="Elgee, Jeffrey (SPAC/PSPC)" userId="e10f0e9c-c03f-4fde-9113-11216b420c44" providerId="ADAL" clId="{8A22DB22-CE08-4237-BAFA-661B83772496}" dt="2024-06-06T13:38:29.918" v="327" actId="1035"/>
          <ac:spMkLst>
            <pc:docMk/>
            <pc:sldMk cId="581567723" sldId="4998"/>
            <ac:spMk id="132" creationId="{972E62F7-856E-E74B-98EE-589692A22E88}"/>
          </ac:spMkLst>
        </pc:spChg>
        <pc:grpChg chg="mod">
          <ac:chgData name="Elgee, Jeffrey (SPAC/PSPC)" userId="e10f0e9c-c03f-4fde-9113-11216b420c44" providerId="ADAL" clId="{8A22DB22-CE08-4237-BAFA-661B83772496}" dt="2024-06-06T13:38:29.918" v="327" actId="1035"/>
          <ac:grpSpMkLst>
            <pc:docMk/>
            <pc:sldMk cId="581567723" sldId="4998"/>
            <ac:grpSpMk id="135" creationId="{DFC4213B-24A7-04FD-6312-18CA7ABB7C6D}"/>
          </ac:grpSpMkLst>
        </pc:grpChg>
        <pc:picChg chg="mod">
          <ac:chgData name="Elgee, Jeffrey (SPAC/PSPC)" userId="e10f0e9c-c03f-4fde-9113-11216b420c44" providerId="ADAL" clId="{8A22DB22-CE08-4237-BAFA-661B83772496}" dt="2024-06-06T13:38:13.865" v="309" actId="1035"/>
          <ac:picMkLst>
            <pc:docMk/>
            <pc:sldMk cId="581567723" sldId="4998"/>
            <ac:picMk id="128" creationId="{72D7B425-467D-E300-99B1-FF1BD469BAA8}"/>
          </ac:picMkLst>
        </pc:picChg>
        <pc:picChg chg="mod">
          <ac:chgData name="Elgee, Jeffrey (SPAC/PSPC)" userId="e10f0e9c-c03f-4fde-9113-11216b420c44" providerId="ADAL" clId="{8A22DB22-CE08-4237-BAFA-661B83772496}" dt="2024-06-06T13:38:13.865" v="309" actId="1035"/>
          <ac:picMkLst>
            <pc:docMk/>
            <pc:sldMk cId="581567723" sldId="4998"/>
            <ac:picMk id="129" creationId="{E625BF06-9D3F-0649-97EF-1BA8A59764D7}"/>
          </ac:picMkLst>
        </pc:picChg>
        <pc:picChg chg="mod">
          <ac:chgData name="Elgee, Jeffrey (SPAC/PSPC)" userId="e10f0e9c-c03f-4fde-9113-11216b420c44" providerId="ADAL" clId="{8A22DB22-CE08-4237-BAFA-661B83772496}" dt="2024-06-06T13:38:29.918" v="327" actId="1035"/>
          <ac:picMkLst>
            <pc:docMk/>
            <pc:sldMk cId="581567723" sldId="4998"/>
            <ac:picMk id="133" creationId="{2C4D393D-1B54-98F0-19F7-D0F7CB3EDE01}"/>
          </ac:picMkLst>
        </pc:picChg>
        <pc:picChg chg="mod">
          <ac:chgData name="Elgee, Jeffrey (SPAC/PSPC)" userId="e10f0e9c-c03f-4fde-9113-11216b420c44" providerId="ADAL" clId="{8A22DB22-CE08-4237-BAFA-661B83772496}" dt="2024-06-06T13:38:29.918" v="327" actId="1035"/>
          <ac:picMkLst>
            <pc:docMk/>
            <pc:sldMk cId="581567723" sldId="4998"/>
            <ac:picMk id="134" creationId="{5BE65366-221B-6F0C-7BDE-1611F267E4E8}"/>
          </ac:picMkLst>
        </pc:picChg>
      </pc:sldChg>
      <pc:sldChg chg="modSp mod modShow">
        <pc:chgData name="Elgee, Jeffrey (SPAC/PSPC)" userId="e10f0e9c-c03f-4fde-9113-11216b420c44" providerId="ADAL" clId="{8A22DB22-CE08-4237-BAFA-661B83772496}" dt="2024-06-06T18:56:21.103" v="1500" actId="729"/>
        <pc:sldMkLst>
          <pc:docMk/>
          <pc:sldMk cId="1252285508" sldId="4999"/>
        </pc:sldMkLst>
        <pc:spChg chg="mod">
          <ac:chgData name="Elgee, Jeffrey (SPAC/PSPC)" userId="e10f0e9c-c03f-4fde-9113-11216b420c44" providerId="ADAL" clId="{8A22DB22-CE08-4237-BAFA-661B83772496}" dt="2024-06-06T18:55:34.666" v="1452" actId="1076"/>
          <ac:spMkLst>
            <pc:docMk/>
            <pc:sldMk cId="1252285508" sldId="4999"/>
            <ac:spMk id="2" creationId="{28BA11C7-FE93-B38C-0C87-7C03934B328B}"/>
          </ac:spMkLst>
        </pc:spChg>
      </pc:sldChg>
      <pc:sldChg chg="addSp delSp modSp mod modClrScheme modCm chgLayout">
        <pc:chgData name="Elgee, Jeffrey (SPAC/PSPC)" userId="e10f0e9c-c03f-4fde-9113-11216b420c44" providerId="ADAL" clId="{8A22DB22-CE08-4237-BAFA-661B83772496}" dt="2024-06-11T14:21:12.428" v="3172"/>
        <pc:sldMkLst>
          <pc:docMk/>
          <pc:sldMk cId="3194185217" sldId="5000"/>
        </pc:sldMkLst>
        <pc:spChg chg="mod ord">
          <ac:chgData name="Elgee, Jeffrey (SPAC/PSPC)" userId="e10f0e9c-c03f-4fde-9113-11216b420c44" providerId="ADAL" clId="{8A22DB22-CE08-4237-BAFA-661B83772496}" dt="2024-06-06T14:58:35.103" v="889" actId="700"/>
          <ac:spMkLst>
            <pc:docMk/>
            <pc:sldMk cId="3194185217" sldId="5000"/>
            <ac:spMk id="2" creationId="{2828F65A-808D-02D2-738B-A7C5CC9FA5CA}"/>
          </ac:spMkLst>
        </pc:spChg>
        <pc:spChg chg="add del mod">
          <ac:chgData name="Elgee, Jeffrey (SPAC/PSPC)" userId="e10f0e9c-c03f-4fde-9113-11216b420c44" providerId="ADAL" clId="{8A22DB22-CE08-4237-BAFA-661B83772496}" dt="2024-06-05T18:31:55.520" v="12" actId="478"/>
          <ac:spMkLst>
            <pc:docMk/>
            <pc:sldMk cId="3194185217" sldId="5000"/>
            <ac:spMk id="4" creationId="{EACF6E99-E03B-249D-6409-F08A0612D72C}"/>
          </ac:spMkLst>
        </pc:spChg>
        <pc:spChg chg="mod">
          <ac:chgData name="Elgee, Jeffrey (SPAC/PSPC)" userId="e10f0e9c-c03f-4fde-9113-11216b420c44" providerId="ADAL" clId="{8A22DB22-CE08-4237-BAFA-661B83772496}" dt="2024-06-05T19:11:51.330" v="76" actId="1076"/>
          <ac:spMkLst>
            <pc:docMk/>
            <pc:sldMk cId="3194185217" sldId="5000"/>
            <ac:spMk id="5" creationId="{022AD1F7-CC8C-3292-5DCC-261E346D205F}"/>
          </ac:spMkLst>
        </pc:spChg>
        <pc:spChg chg="del">
          <ac:chgData name="Elgee, Jeffrey (SPAC/PSPC)" userId="e10f0e9c-c03f-4fde-9113-11216b420c44" providerId="ADAL" clId="{8A22DB22-CE08-4237-BAFA-661B83772496}" dt="2024-06-05T18:31:31.539" v="8" actId="478"/>
          <ac:spMkLst>
            <pc:docMk/>
            <pc:sldMk cId="3194185217" sldId="5000"/>
            <ac:spMk id="8" creationId="{B8D3236C-F5AD-B8FE-973F-67D3C1A9171D}"/>
          </ac:spMkLst>
        </pc:spChg>
        <pc:spChg chg="del">
          <ac:chgData name="Elgee, Jeffrey (SPAC/PSPC)" userId="e10f0e9c-c03f-4fde-9113-11216b420c44" providerId="ADAL" clId="{8A22DB22-CE08-4237-BAFA-661B83772496}" dt="2024-06-05T18:31:06.604" v="4" actId="478"/>
          <ac:spMkLst>
            <pc:docMk/>
            <pc:sldMk cId="3194185217" sldId="5000"/>
            <ac:spMk id="12" creationId="{9F58768A-F5F9-3AC4-6268-3A8E7F67BD06}"/>
          </ac:spMkLst>
        </pc:spChg>
        <pc:spChg chg="del">
          <ac:chgData name="Elgee, Jeffrey (SPAC/PSPC)" userId="e10f0e9c-c03f-4fde-9113-11216b420c44" providerId="ADAL" clId="{8A22DB22-CE08-4237-BAFA-661B83772496}" dt="2024-06-05T18:31:25.132" v="7" actId="478"/>
          <ac:spMkLst>
            <pc:docMk/>
            <pc:sldMk cId="3194185217" sldId="5000"/>
            <ac:spMk id="14" creationId="{9B6A7A23-1440-018C-FB55-8B1C9009263E}"/>
          </ac:spMkLst>
        </pc:spChg>
        <pc:spChg chg="del">
          <ac:chgData name="Elgee, Jeffrey (SPAC/PSPC)" userId="e10f0e9c-c03f-4fde-9113-11216b420c44" providerId="ADAL" clId="{8A22DB22-CE08-4237-BAFA-661B83772496}" dt="2024-06-05T18:30:53.009" v="2" actId="478"/>
          <ac:spMkLst>
            <pc:docMk/>
            <pc:sldMk cId="3194185217" sldId="5000"/>
            <ac:spMk id="15" creationId="{697BB04D-D5A9-EF9D-9DE3-EAE9709340EE}"/>
          </ac:spMkLst>
        </pc:spChg>
        <pc:spChg chg="del">
          <ac:chgData name="Elgee, Jeffrey (SPAC/PSPC)" userId="e10f0e9c-c03f-4fde-9113-11216b420c44" providerId="ADAL" clId="{8A22DB22-CE08-4237-BAFA-661B83772496}" dt="2024-06-05T18:30:56.815" v="3" actId="478"/>
          <ac:spMkLst>
            <pc:docMk/>
            <pc:sldMk cId="3194185217" sldId="5000"/>
            <ac:spMk id="17" creationId="{E809A576-517F-D6FE-2A09-5E88690E1076}"/>
          </ac:spMkLst>
        </pc:spChg>
        <pc:spChg chg="del">
          <ac:chgData name="Elgee, Jeffrey (SPAC/PSPC)" userId="e10f0e9c-c03f-4fde-9113-11216b420c44" providerId="ADAL" clId="{8A22DB22-CE08-4237-BAFA-661B83772496}" dt="2024-06-05T18:30:47.411" v="1" actId="478"/>
          <ac:spMkLst>
            <pc:docMk/>
            <pc:sldMk cId="3194185217" sldId="5000"/>
            <ac:spMk id="18" creationId="{99070905-81A6-326C-1DA9-2FC78FD03718}"/>
          </ac:spMkLst>
        </pc:spChg>
        <pc:spChg chg="mod">
          <ac:chgData name="Elgee, Jeffrey (SPAC/PSPC)" userId="e10f0e9c-c03f-4fde-9113-11216b420c44" providerId="ADAL" clId="{8A22DB22-CE08-4237-BAFA-661B83772496}" dt="2024-06-05T18:38:02.958" v="44" actId="1076"/>
          <ac:spMkLst>
            <pc:docMk/>
            <pc:sldMk cId="3194185217" sldId="5000"/>
            <ac:spMk id="19" creationId="{BFA234D2-120A-FD69-86AE-5FB98203EDF5}"/>
          </ac:spMkLst>
        </pc:spChg>
        <pc:spChg chg="mod">
          <ac:chgData name="Elgee, Jeffrey (SPAC/PSPC)" userId="e10f0e9c-c03f-4fde-9113-11216b420c44" providerId="ADAL" clId="{8A22DB22-CE08-4237-BAFA-661B83772496}" dt="2024-06-05T18:39:18.270" v="74" actId="1076"/>
          <ac:spMkLst>
            <pc:docMk/>
            <pc:sldMk cId="3194185217" sldId="5000"/>
            <ac:spMk id="20" creationId="{94DCBF09-ABA2-C4B6-97FC-220DA50B7E63}"/>
          </ac:spMkLst>
        </pc:spChg>
        <pc:spChg chg="mod">
          <ac:chgData name="Elgee, Jeffrey (SPAC/PSPC)" userId="e10f0e9c-c03f-4fde-9113-11216b420c44" providerId="ADAL" clId="{8A22DB22-CE08-4237-BAFA-661B83772496}" dt="2024-06-05T18:38:38.897" v="48" actId="1076"/>
          <ac:spMkLst>
            <pc:docMk/>
            <pc:sldMk cId="3194185217" sldId="5000"/>
            <ac:spMk id="21" creationId="{F0F688BB-42A1-D9B9-B9A0-C12D3974EA66}"/>
          </ac:spMkLst>
        </pc:spChg>
        <pc:spChg chg="del mod">
          <ac:chgData name="Elgee, Jeffrey (SPAC/PSPC)" userId="e10f0e9c-c03f-4fde-9113-11216b420c44" providerId="ADAL" clId="{8A22DB22-CE08-4237-BAFA-661B83772496}" dt="2024-06-05T18:35:25.814" v="33" actId="478"/>
          <ac:spMkLst>
            <pc:docMk/>
            <pc:sldMk cId="3194185217" sldId="5000"/>
            <ac:spMk id="22" creationId="{A41FBB0B-2102-57C6-0AD2-C0EFB2054B00}"/>
          </ac:spMkLst>
        </pc:spChg>
        <pc:spChg chg="del mod">
          <ac:chgData name="Elgee, Jeffrey (SPAC/PSPC)" userId="e10f0e9c-c03f-4fde-9113-11216b420c44" providerId="ADAL" clId="{8A22DB22-CE08-4237-BAFA-661B83772496}" dt="2024-06-05T18:35:25.814" v="33" actId="478"/>
          <ac:spMkLst>
            <pc:docMk/>
            <pc:sldMk cId="3194185217" sldId="5000"/>
            <ac:spMk id="23" creationId="{CAC9BBCC-16BF-2166-C575-6117AF67D5CE}"/>
          </ac:spMkLst>
        </pc:spChg>
        <pc:spChg chg="del mod">
          <ac:chgData name="Elgee, Jeffrey (SPAC/PSPC)" userId="e10f0e9c-c03f-4fde-9113-11216b420c44" providerId="ADAL" clId="{8A22DB22-CE08-4237-BAFA-661B83772496}" dt="2024-06-05T18:35:25.814" v="33" actId="478"/>
          <ac:spMkLst>
            <pc:docMk/>
            <pc:sldMk cId="3194185217" sldId="5000"/>
            <ac:spMk id="24" creationId="{05EA8BE3-E02E-CA95-5F0F-7220417D6DCA}"/>
          </ac:spMkLst>
        </pc:spChg>
        <pc:spChg chg="del mod">
          <ac:chgData name="Elgee, Jeffrey (SPAC/PSPC)" userId="e10f0e9c-c03f-4fde-9113-11216b420c44" providerId="ADAL" clId="{8A22DB22-CE08-4237-BAFA-661B83772496}" dt="2024-06-05T18:35:25.814" v="33" actId="478"/>
          <ac:spMkLst>
            <pc:docMk/>
            <pc:sldMk cId="3194185217" sldId="5000"/>
            <ac:spMk id="25" creationId="{0CFE0E3C-3A84-7713-B94B-DE9EDE116076}"/>
          </ac:spMkLst>
        </pc:spChg>
        <pc:spChg chg="del mod">
          <ac:chgData name="Elgee, Jeffrey (SPAC/PSPC)" userId="e10f0e9c-c03f-4fde-9113-11216b420c44" providerId="ADAL" clId="{8A22DB22-CE08-4237-BAFA-661B83772496}" dt="2024-06-05T18:35:25.814" v="33" actId="478"/>
          <ac:spMkLst>
            <pc:docMk/>
            <pc:sldMk cId="3194185217" sldId="5000"/>
            <ac:spMk id="26" creationId="{77B7338D-24BF-4F85-B000-845B3C243D12}"/>
          </ac:spMkLst>
        </pc:spChg>
        <pc:spChg chg="del mod">
          <ac:chgData name="Elgee, Jeffrey (SPAC/PSPC)" userId="e10f0e9c-c03f-4fde-9113-11216b420c44" providerId="ADAL" clId="{8A22DB22-CE08-4237-BAFA-661B83772496}" dt="2024-06-05T18:35:32.222" v="34" actId="478"/>
          <ac:spMkLst>
            <pc:docMk/>
            <pc:sldMk cId="3194185217" sldId="5000"/>
            <ac:spMk id="27" creationId="{1EADB5FE-B786-833B-39DB-D666DFB0E08B}"/>
          </ac:spMkLst>
        </pc:spChg>
        <pc:spChg chg="del mod">
          <ac:chgData name="Elgee, Jeffrey (SPAC/PSPC)" userId="e10f0e9c-c03f-4fde-9113-11216b420c44" providerId="ADAL" clId="{8A22DB22-CE08-4237-BAFA-661B83772496}" dt="2024-06-05T18:35:32.222" v="34" actId="478"/>
          <ac:spMkLst>
            <pc:docMk/>
            <pc:sldMk cId="3194185217" sldId="5000"/>
            <ac:spMk id="28" creationId="{35255DDD-5061-9149-E987-91D3D6A9ADA5}"/>
          </ac:spMkLst>
        </pc:spChg>
        <pc:spChg chg="del mod">
          <ac:chgData name="Elgee, Jeffrey (SPAC/PSPC)" userId="e10f0e9c-c03f-4fde-9113-11216b420c44" providerId="ADAL" clId="{8A22DB22-CE08-4237-BAFA-661B83772496}" dt="2024-06-05T18:35:32.222" v="34" actId="478"/>
          <ac:spMkLst>
            <pc:docMk/>
            <pc:sldMk cId="3194185217" sldId="5000"/>
            <ac:spMk id="29" creationId="{B769BDBB-1AFF-04EE-0B61-543741C62AE6}"/>
          </ac:spMkLst>
        </pc:spChg>
        <pc:spChg chg="del mod">
          <ac:chgData name="Elgee, Jeffrey (SPAC/PSPC)" userId="e10f0e9c-c03f-4fde-9113-11216b420c44" providerId="ADAL" clId="{8A22DB22-CE08-4237-BAFA-661B83772496}" dt="2024-06-05T18:35:32.222" v="34" actId="478"/>
          <ac:spMkLst>
            <pc:docMk/>
            <pc:sldMk cId="3194185217" sldId="5000"/>
            <ac:spMk id="30" creationId="{796D3174-7925-097A-3DAB-14D6614E2472}"/>
          </ac:spMkLst>
        </pc:spChg>
        <pc:spChg chg="del mod">
          <ac:chgData name="Elgee, Jeffrey (SPAC/PSPC)" userId="e10f0e9c-c03f-4fde-9113-11216b420c44" providerId="ADAL" clId="{8A22DB22-CE08-4237-BAFA-661B83772496}" dt="2024-06-05T18:35:32.222" v="34" actId="478"/>
          <ac:spMkLst>
            <pc:docMk/>
            <pc:sldMk cId="3194185217" sldId="5000"/>
            <ac:spMk id="31" creationId="{82EB5891-A5CA-3892-1503-ECDCEF930CDF}"/>
          </ac:spMkLst>
        </pc:spChg>
        <pc:spChg chg="mod">
          <ac:chgData name="Elgee, Jeffrey (SPAC/PSPC)" userId="e10f0e9c-c03f-4fde-9113-11216b420c44" providerId="ADAL" clId="{8A22DB22-CE08-4237-BAFA-661B83772496}" dt="2024-06-05T18:38:29.168" v="46" actId="1076"/>
          <ac:spMkLst>
            <pc:docMk/>
            <pc:sldMk cId="3194185217" sldId="5000"/>
            <ac:spMk id="32" creationId="{E4E3A91C-A0F3-2DBD-3A42-4B868F01CE67}"/>
          </ac:spMkLst>
        </pc:spChg>
        <pc:spChg chg="mod">
          <ac:chgData name="Elgee, Jeffrey (SPAC/PSPC)" userId="e10f0e9c-c03f-4fde-9113-11216b420c44" providerId="ADAL" clId="{8A22DB22-CE08-4237-BAFA-661B83772496}" dt="2024-06-05T18:38:29.168" v="46" actId="1076"/>
          <ac:spMkLst>
            <pc:docMk/>
            <pc:sldMk cId="3194185217" sldId="5000"/>
            <ac:spMk id="33" creationId="{0887182C-EA58-F4C8-0A6F-6284E60A0077}"/>
          </ac:spMkLst>
        </pc:spChg>
        <pc:spChg chg="mod">
          <ac:chgData name="Elgee, Jeffrey (SPAC/PSPC)" userId="e10f0e9c-c03f-4fde-9113-11216b420c44" providerId="ADAL" clId="{8A22DB22-CE08-4237-BAFA-661B83772496}" dt="2024-06-05T18:38:29.168" v="46" actId="1076"/>
          <ac:spMkLst>
            <pc:docMk/>
            <pc:sldMk cId="3194185217" sldId="5000"/>
            <ac:spMk id="34" creationId="{85F2CEB4-D0CB-A3BD-A40A-DDA728B058F9}"/>
          </ac:spMkLst>
        </pc:spChg>
        <pc:spChg chg="mod">
          <ac:chgData name="Elgee, Jeffrey (SPAC/PSPC)" userId="e10f0e9c-c03f-4fde-9113-11216b420c44" providerId="ADAL" clId="{8A22DB22-CE08-4237-BAFA-661B83772496}" dt="2024-06-05T18:38:29.168" v="46" actId="1076"/>
          <ac:spMkLst>
            <pc:docMk/>
            <pc:sldMk cId="3194185217" sldId="5000"/>
            <ac:spMk id="35" creationId="{F5C5410F-2121-82CA-883E-FE65EBEADE9B}"/>
          </ac:spMkLst>
        </pc:spChg>
        <pc:spChg chg="mod">
          <ac:chgData name="Elgee, Jeffrey (SPAC/PSPC)" userId="e10f0e9c-c03f-4fde-9113-11216b420c44" providerId="ADAL" clId="{8A22DB22-CE08-4237-BAFA-661B83772496}" dt="2024-06-05T18:38:29.168" v="46" actId="1076"/>
          <ac:spMkLst>
            <pc:docMk/>
            <pc:sldMk cId="3194185217" sldId="5000"/>
            <ac:spMk id="36" creationId="{E164CD8B-6519-6488-697B-850EC3B890A6}"/>
          </ac:spMkLst>
        </pc:spChg>
        <pc:spChg chg="mod">
          <ac:chgData name="Elgee, Jeffrey (SPAC/PSPC)" userId="e10f0e9c-c03f-4fde-9113-11216b420c44" providerId="ADAL" clId="{8A22DB22-CE08-4237-BAFA-661B83772496}" dt="2024-06-05T18:39:08.013" v="73" actId="1076"/>
          <ac:spMkLst>
            <pc:docMk/>
            <pc:sldMk cId="3194185217" sldId="5000"/>
            <ac:spMk id="37" creationId="{A8AC4175-8E9A-70C2-56A5-B068A8EFB7D5}"/>
          </ac:spMkLst>
        </pc:spChg>
        <pc:spChg chg="mod">
          <ac:chgData name="Elgee, Jeffrey (SPAC/PSPC)" userId="e10f0e9c-c03f-4fde-9113-11216b420c44" providerId="ADAL" clId="{8A22DB22-CE08-4237-BAFA-661B83772496}" dt="2024-06-05T18:39:08.013" v="73" actId="1076"/>
          <ac:spMkLst>
            <pc:docMk/>
            <pc:sldMk cId="3194185217" sldId="5000"/>
            <ac:spMk id="38" creationId="{67744030-6713-B9D7-0991-3B82A9C289EE}"/>
          </ac:spMkLst>
        </pc:spChg>
        <pc:spChg chg="mod">
          <ac:chgData name="Elgee, Jeffrey (SPAC/PSPC)" userId="e10f0e9c-c03f-4fde-9113-11216b420c44" providerId="ADAL" clId="{8A22DB22-CE08-4237-BAFA-661B83772496}" dt="2024-06-05T18:39:08.013" v="73" actId="1076"/>
          <ac:spMkLst>
            <pc:docMk/>
            <pc:sldMk cId="3194185217" sldId="5000"/>
            <ac:spMk id="39" creationId="{3E97E9F0-DC56-D100-7B11-AEF055A97DCA}"/>
          </ac:spMkLst>
        </pc:spChg>
        <pc:spChg chg="mod">
          <ac:chgData name="Elgee, Jeffrey (SPAC/PSPC)" userId="e10f0e9c-c03f-4fde-9113-11216b420c44" providerId="ADAL" clId="{8A22DB22-CE08-4237-BAFA-661B83772496}" dt="2024-06-05T18:39:08.013" v="73" actId="1076"/>
          <ac:spMkLst>
            <pc:docMk/>
            <pc:sldMk cId="3194185217" sldId="5000"/>
            <ac:spMk id="40" creationId="{F7073BE9-1671-FEE7-C881-346A3AE2C475}"/>
          </ac:spMkLst>
        </pc:spChg>
        <pc:spChg chg="mod">
          <ac:chgData name="Elgee, Jeffrey (SPAC/PSPC)" userId="e10f0e9c-c03f-4fde-9113-11216b420c44" providerId="ADAL" clId="{8A22DB22-CE08-4237-BAFA-661B83772496}" dt="2024-06-05T18:39:08.013" v="73" actId="1076"/>
          <ac:spMkLst>
            <pc:docMk/>
            <pc:sldMk cId="3194185217" sldId="5000"/>
            <ac:spMk id="41" creationId="{06CC2BB9-287A-6152-62E0-425567B829A1}"/>
          </ac:spMkLst>
        </pc:spChg>
        <pc:spChg chg="mod">
          <ac:chgData name="Elgee, Jeffrey (SPAC/PSPC)" userId="e10f0e9c-c03f-4fde-9113-11216b420c44" providerId="ADAL" clId="{8A22DB22-CE08-4237-BAFA-661B83772496}" dt="2024-06-05T18:38:29.168" v="46" actId="1076"/>
          <ac:spMkLst>
            <pc:docMk/>
            <pc:sldMk cId="3194185217" sldId="5000"/>
            <ac:spMk id="42" creationId="{6893D8D9-32DD-CF92-2CC1-CE7B0500E134}"/>
          </ac:spMkLst>
        </pc:spChg>
        <pc:spChg chg="mod">
          <ac:chgData name="Elgee, Jeffrey (SPAC/PSPC)" userId="e10f0e9c-c03f-4fde-9113-11216b420c44" providerId="ADAL" clId="{8A22DB22-CE08-4237-BAFA-661B83772496}" dt="2024-06-05T18:38:29.168" v="46" actId="1076"/>
          <ac:spMkLst>
            <pc:docMk/>
            <pc:sldMk cId="3194185217" sldId="5000"/>
            <ac:spMk id="43" creationId="{C333FD2E-87B7-6B14-3D2B-9E4CCA21AA9E}"/>
          </ac:spMkLst>
        </pc:spChg>
        <pc:spChg chg="mod">
          <ac:chgData name="Elgee, Jeffrey (SPAC/PSPC)" userId="e10f0e9c-c03f-4fde-9113-11216b420c44" providerId="ADAL" clId="{8A22DB22-CE08-4237-BAFA-661B83772496}" dt="2024-06-05T18:38:29.168" v="46" actId="1076"/>
          <ac:spMkLst>
            <pc:docMk/>
            <pc:sldMk cId="3194185217" sldId="5000"/>
            <ac:spMk id="44" creationId="{416A71BF-C1C4-B629-38F7-60E0683827BE}"/>
          </ac:spMkLst>
        </pc:spChg>
        <pc:spChg chg="mod">
          <ac:chgData name="Elgee, Jeffrey (SPAC/PSPC)" userId="e10f0e9c-c03f-4fde-9113-11216b420c44" providerId="ADAL" clId="{8A22DB22-CE08-4237-BAFA-661B83772496}" dt="2024-06-05T18:38:29.168" v="46" actId="1076"/>
          <ac:spMkLst>
            <pc:docMk/>
            <pc:sldMk cId="3194185217" sldId="5000"/>
            <ac:spMk id="45" creationId="{98C5E74F-CC52-BDD5-5039-BC7A60803549}"/>
          </ac:spMkLst>
        </pc:spChg>
        <pc:spChg chg="mod">
          <ac:chgData name="Elgee, Jeffrey (SPAC/PSPC)" userId="e10f0e9c-c03f-4fde-9113-11216b420c44" providerId="ADAL" clId="{8A22DB22-CE08-4237-BAFA-661B83772496}" dt="2024-06-05T18:38:29.168" v="46" actId="1076"/>
          <ac:spMkLst>
            <pc:docMk/>
            <pc:sldMk cId="3194185217" sldId="5000"/>
            <ac:spMk id="46" creationId="{F5D8FDAD-571E-8BED-294E-116FD8CF6864}"/>
          </ac:spMkLst>
        </pc:spChg>
        <pc:spChg chg="mod">
          <ac:chgData name="Elgee, Jeffrey (SPAC/PSPC)" userId="e10f0e9c-c03f-4fde-9113-11216b420c44" providerId="ADAL" clId="{8A22DB22-CE08-4237-BAFA-661B83772496}" dt="2024-06-05T18:39:08.013" v="73" actId="1076"/>
          <ac:spMkLst>
            <pc:docMk/>
            <pc:sldMk cId="3194185217" sldId="5000"/>
            <ac:spMk id="47" creationId="{3B176C01-B35C-12A0-C785-76E84702C722}"/>
          </ac:spMkLst>
        </pc:spChg>
        <pc:spChg chg="mod">
          <ac:chgData name="Elgee, Jeffrey (SPAC/PSPC)" userId="e10f0e9c-c03f-4fde-9113-11216b420c44" providerId="ADAL" clId="{8A22DB22-CE08-4237-BAFA-661B83772496}" dt="2024-06-05T18:39:08.013" v="73" actId="1076"/>
          <ac:spMkLst>
            <pc:docMk/>
            <pc:sldMk cId="3194185217" sldId="5000"/>
            <ac:spMk id="48" creationId="{CBCCEA58-A032-F97E-E1D2-BA10AAA854E1}"/>
          </ac:spMkLst>
        </pc:spChg>
        <pc:spChg chg="mod">
          <ac:chgData name="Elgee, Jeffrey (SPAC/PSPC)" userId="e10f0e9c-c03f-4fde-9113-11216b420c44" providerId="ADAL" clId="{8A22DB22-CE08-4237-BAFA-661B83772496}" dt="2024-06-05T18:39:08.013" v="73" actId="1076"/>
          <ac:spMkLst>
            <pc:docMk/>
            <pc:sldMk cId="3194185217" sldId="5000"/>
            <ac:spMk id="49" creationId="{A13F8D29-D7AF-4059-F46B-DB7C1E8CA600}"/>
          </ac:spMkLst>
        </pc:spChg>
        <pc:spChg chg="mod">
          <ac:chgData name="Elgee, Jeffrey (SPAC/PSPC)" userId="e10f0e9c-c03f-4fde-9113-11216b420c44" providerId="ADAL" clId="{8A22DB22-CE08-4237-BAFA-661B83772496}" dt="2024-06-05T18:39:08.013" v="73" actId="1076"/>
          <ac:spMkLst>
            <pc:docMk/>
            <pc:sldMk cId="3194185217" sldId="5000"/>
            <ac:spMk id="50" creationId="{8B2A6E12-EE1D-E7A4-79CD-487DA302FC38}"/>
          </ac:spMkLst>
        </pc:spChg>
        <pc:spChg chg="mod">
          <ac:chgData name="Elgee, Jeffrey (SPAC/PSPC)" userId="e10f0e9c-c03f-4fde-9113-11216b420c44" providerId="ADAL" clId="{8A22DB22-CE08-4237-BAFA-661B83772496}" dt="2024-06-05T18:39:08.013" v="73" actId="1076"/>
          <ac:spMkLst>
            <pc:docMk/>
            <pc:sldMk cId="3194185217" sldId="5000"/>
            <ac:spMk id="51" creationId="{0B3E6690-78E2-CF8D-8F0F-EA15ECF5FBD6}"/>
          </ac:spMkLst>
        </pc:spChg>
        <pc:spChg chg="mod">
          <ac:chgData name="Elgee, Jeffrey (SPAC/PSPC)" userId="e10f0e9c-c03f-4fde-9113-11216b420c44" providerId="ADAL" clId="{8A22DB22-CE08-4237-BAFA-661B83772496}" dt="2024-06-05T18:38:29.168" v="46" actId="1076"/>
          <ac:spMkLst>
            <pc:docMk/>
            <pc:sldMk cId="3194185217" sldId="5000"/>
            <ac:spMk id="52" creationId="{7DDC9965-13FC-63C2-649C-6DD553949BEA}"/>
          </ac:spMkLst>
        </pc:spChg>
        <pc:spChg chg="mod">
          <ac:chgData name="Elgee, Jeffrey (SPAC/PSPC)" userId="e10f0e9c-c03f-4fde-9113-11216b420c44" providerId="ADAL" clId="{8A22DB22-CE08-4237-BAFA-661B83772496}" dt="2024-06-05T18:38:29.168" v="46" actId="1076"/>
          <ac:spMkLst>
            <pc:docMk/>
            <pc:sldMk cId="3194185217" sldId="5000"/>
            <ac:spMk id="53" creationId="{E8CD7EF2-FC5D-142D-E39A-979698AF67B5}"/>
          </ac:spMkLst>
        </pc:spChg>
        <pc:spChg chg="mod">
          <ac:chgData name="Elgee, Jeffrey (SPAC/PSPC)" userId="e10f0e9c-c03f-4fde-9113-11216b420c44" providerId="ADAL" clId="{8A22DB22-CE08-4237-BAFA-661B83772496}" dt="2024-06-05T18:38:29.168" v="46" actId="1076"/>
          <ac:spMkLst>
            <pc:docMk/>
            <pc:sldMk cId="3194185217" sldId="5000"/>
            <ac:spMk id="54" creationId="{A2738999-A52D-6EBC-35EB-31AA0796BD36}"/>
          </ac:spMkLst>
        </pc:spChg>
        <pc:spChg chg="mod">
          <ac:chgData name="Elgee, Jeffrey (SPAC/PSPC)" userId="e10f0e9c-c03f-4fde-9113-11216b420c44" providerId="ADAL" clId="{8A22DB22-CE08-4237-BAFA-661B83772496}" dt="2024-06-05T18:38:29.168" v="46" actId="1076"/>
          <ac:spMkLst>
            <pc:docMk/>
            <pc:sldMk cId="3194185217" sldId="5000"/>
            <ac:spMk id="55" creationId="{6F996561-7321-3323-DBAF-F6D9CE1FF309}"/>
          </ac:spMkLst>
        </pc:spChg>
        <pc:spChg chg="mod">
          <ac:chgData name="Elgee, Jeffrey (SPAC/PSPC)" userId="e10f0e9c-c03f-4fde-9113-11216b420c44" providerId="ADAL" clId="{8A22DB22-CE08-4237-BAFA-661B83772496}" dt="2024-06-05T18:38:29.168" v="46" actId="1076"/>
          <ac:spMkLst>
            <pc:docMk/>
            <pc:sldMk cId="3194185217" sldId="5000"/>
            <ac:spMk id="56" creationId="{5A3ED452-BE60-181F-9C97-203C7BF40DA7}"/>
          </ac:spMkLst>
        </pc:spChg>
        <pc:spChg chg="mod">
          <ac:chgData name="Elgee, Jeffrey (SPAC/PSPC)" userId="e10f0e9c-c03f-4fde-9113-11216b420c44" providerId="ADAL" clId="{8A22DB22-CE08-4237-BAFA-661B83772496}" dt="2024-06-05T18:39:08.013" v="73" actId="1076"/>
          <ac:spMkLst>
            <pc:docMk/>
            <pc:sldMk cId="3194185217" sldId="5000"/>
            <ac:spMk id="57" creationId="{1EC8989F-4D83-6D20-1012-6F5C584E9D6D}"/>
          </ac:spMkLst>
        </pc:spChg>
        <pc:spChg chg="mod">
          <ac:chgData name="Elgee, Jeffrey (SPAC/PSPC)" userId="e10f0e9c-c03f-4fde-9113-11216b420c44" providerId="ADAL" clId="{8A22DB22-CE08-4237-BAFA-661B83772496}" dt="2024-06-05T18:39:08.013" v="73" actId="1076"/>
          <ac:spMkLst>
            <pc:docMk/>
            <pc:sldMk cId="3194185217" sldId="5000"/>
            <ac:spMk id="58" creationId="{815DE183-7218-A4B1-B860-C06F4309AA3D}"/>
          </ac:spMkLst>
        </pc:spChg>
        <pc:spChg chg="del mod">
          <ac:chgData name="Elgee, Jeffrey (SPAC/PSPC)" userId="e10f0e9c-c03f-4fde-9113-11216b420c44" providerId="ADAL" clId="{8A22DB22-CE08-4237-BAFA-661B83772496}" dt="2024-06-05T18:37:45.414" v="42" actId="478"/>
          <ac:spMkLst>
            <pc:docMk/>
            <pc:sldMk cId="3194185217" sldId="5000"/>
            <ac:spMk id="59" creationId="{0CDCC43A-E910-ADA2-52ED-C41D553C3D75}"/>
          </ac:spMkLst>
        </pc:spChg>
        <pc:spChg chg="mod">
          <ac:chgData name="Elgee, Jeffrey (SPAC/PSPC)" userId="e10f0e9c-c03f-4fde-9113-11216b420c44" providerId="ADAL" clId="{8A22DB22-CE08-4237-BAFA-661B83772496}" dt="2024-06-05T18:33:18.979" v="25" actId="571"/>
          <ac:spMkLst>
            <pc:docMk/>
            <pc:sldMk cId="3194185217" sldId="5000"/>
            <ac:spMk id="62" creationId="{5782BE9B-2DA4-9E7F-B316-A6EE751FB6AD}"/>
          </ac:spMkLst>
        </pc:spChg>
        <pc:spChg chg="mod">
          <ac:chgData name="Elgee, Jeffrey (SPAC/PSPC)" userId="e10f0e9c-c03f-4fde-9113-11216b420c44" providerId="ADAL" clId="{8A22DB22-CE08-4237-BAFA-661B83772496}" dt="2024-06-05T18:33:18.979" v="25" actId="571"/>
          <ac:spMkLst>
            <pc:docMk/>
            <pc:sldMk cId="3194185217" sldId="5000"/>
            <ac:spMk id="64" creationId="{45855FC7-0B38-C3F8-AFE7-BDEDD1B91CF4}"/>
          </ac:spMkLst>
        </pc:spChg>
        <pc:spChg chg="mod">
          <ac:chgData name="Elgee, Jeffrey (SPAC/PSPC)" userId="e10f0e9c-c03f-4fde-9113-11216b420c44" providerId="ADAL" clId="{8A22DB22-CE08-4237-BAFA-661B83772496}" dt="2024-06-05T18:33:18.979" v="25" actId="571"/>
          <ac:spMkLst>
            <pc:docMk/>
            <pc:sldMk cId="3194185217" sldId="5000"/>
            <ac:spMk id="65" creationId="{F1D04CFE-85CE-CB35-D9A6-4088A8212AC2}"/>
          </ac:spMkLst>
        </pc:spChg>
        <pc:spChg chg="mod">
          <ac:chgData name="Elgee, Jeffrey (SPAC/PSPC)" userId="e10f0e9c-c03f-4fde-9113-11216b420c44" providerId="ADAL" clId="{8A22DB22-CE08-4237-BAFA-661B83772496}" dt="2024-06-05T18:33:18.979" v="25" actId="571"/>
          <ac:spMkLst>
            <pc:docMk/>
            <pc:sldMk cId="3194185217" sldId="5000"/>
            <ac:spMk id="67" creationId="{1321C3BD-88DD-C688-5910-FBAD83F66D2C}"/>
          </ac:spMkLst>
        </pc:spChg>
        <pc:spChg chg="mod">
          <ac:chgData name="Elgee, Jeffrey (SPAC/PSPC)" userId="e10f0e9c-c03f-4fde-9113-11216b420c44" providerId="ADAL" clId="{8A22DB22-CE08-4237-BAFA-661B83772496}" dt="2024-06-05T18:33:18.979" v="25" actId="571"/>
          <ac:spMkLst>
            <pc:docMk/>
            <pc:sldMk cId="3194185217" sldId="5000"/>
            <ac:spMk id="68" creationId="{AC66B73B-D041-44D2-DE28-1F67D152F3A1}"/>
          </ac:spMkLst>
        </pc:spChg>
        <pc:spChg chg="mod">
          <ac:chgData name="Elgee, Jeffrey (SPAC/PSPC)" userId="e10f0e9c-c03f-4fde-9113-11216b420c44" providerId="ADAL" clId="{8A22DB22-CE08-4237-BAFA-661B83772496}" dt="2024-06-05T18:33:18.979" v="25" actId="571"/>
          <ac:spMkLst>
            <pc:docMk/>
            <pc:sldMk cId="3194185217" sldId="5000"/>
            <ac:spMk id="69" creationId="{CDB7C5CD-F4AC-8A66-5378-BF3E4CB2B2A8}"/>
          </ac:spMkLst>
        </pc:spChg>
        <pc:spChg chg="mod">
          <ac:chgData name="Elgee, Jeffrey (SPAC/PSPC)" userId="e10f0e9c-c03f-4fde-9113-11216b420c44" providerId="ADAL" clId="{8A22DB22-CE08-4237-BAFA-661B83772496}" dt="2024-06-05T18:33:18.979" v="25" actId="571"/>
          <ac:spMkLst>
            <pc:docMk/>
            <pc:sldMk cId="3194185217" sldId="5000"/>
            <ac:spMk id="70" creationId="{0345FD51-2B7B-EF07-5887-2EBFDF34C717}"/>
          </ac:spMkLst>
        </pc:spChg>
        <pc:spChg chg="mod">
          <ac:chgData name="Elgee, Jeffrey (SPAC/PSPC)" userId="e10f0e9c-c03f-4fde-9113-11216b420c44" providerId="ADAL" clId="{8A22DB22-CE08-4237-BAFA-661B83772496}" dt="2024-06-05T18:33:18.979" v="25" actId="571"/>
          <ac:spMkLst>
            <pc:docMk/>
            <pc:sldMk cId="3194185217" sldId="5000"/>
            <ac:spMk id="71" creationId="{C6BF1ADF-E135-B21B-74D8-9F28DBAAFD66}"/>
          </ac:spMkLst>
        </pc:spChg>
        <pc:spChg chg="mod">
          <ac:chgData name="Elgee, Jeffrey (SPAC/PSPC)" userId="e10f0e9c-c03f-4fde-9113-11216b420c44" providerId="ADAL" clId="{8A22DB22-CE08-4237-BAFA-661B83772496}" dt="2024-06-05T18:33:18.979" v="25" actId="571"/>
          <ac:spMkLst>
            <pc:docMk/>
            <pc:sldMk cId="3194185217" sldId="5000"/>
            <ac:spMk id="72" creationId="{539BFB47-01E8-3E08-8FB1-2F7C72B27323}"/>
          </ac:spMkLst>
        </pc:spChg>
        <pc:spChg chg="mod">
          <ac:chgData name="Elgee, Jeffrey (SPAC/PSPC)" userId="e10f0e9c-c03f-4fde-9113-11216b420c44" providerId="ADAL" clId="{8A22DB22-CE08-4237-BAFA-661B83772496}" dt="2024-06-05T18:33:18.979" v="25" actId="571"/>
          <ac:spMkLst>
            <pc:docMk/>
            <pc:sldMk cId="3194185217" sldId="5000"/>
            <ac:spMk id="73" creationId="{AC9D358B-D420-79BA-6D60-04D058CBF1FA}"/>
          </ac:spMkLst>
        </pc:spChg>
        <pc:spChg chg="mod">
          <ac:chgData name="Elgee, Jeffrey (SPAC/PSPC)" userId="e10f0e9c-c03f-4fde-9113-11216b420c44" providerId="ADAL" clId="{8A22DB22-CE08-4237-BAFA-661B83772496}" dt="2024-06-05T18:33:18.979" v="25" actId="571"/>
          <ac:spMkLst>
            <pc:docMk/>
            <pc:sldMk cId="3194185217" sldId="5000"/>
            <ac:spMk id="74" creationId="{1B335456-D634-A7D1-484E-B60B8D80EDC3}"/>
          </ac:spMkLst>
        </pc:spChg>
        <pc:spChg chg="mod">
          <ac:chgData name="Elgee, Jeffrey (SPAC/PSPC)" userId="e10f0e9c-c03f-4fde-9113-11216b420c44" providerId="ADAL" clId="{8A22DB22-CE08-4237-BAFA-661B83772496}" dt="2024-06-05T18:33:18.979" v="25" actId="571"/>
          <ac:spMkLst>
            <pc:docMk/>
            <pc:sldMk cId="3194185217" sldId="5000"/>
            <ac:spMk id="75" creationId="{21FEA7B0-C92C-4F85-D04E-D2A6ED4CADE4}"/>
          </ac:spMkLst>
        </pc:spChg>
        <pc:spChg chg="mod">
          <ac:chgData name="Elgee, Jeffrey (SPAC/PSPC)" userId="e10f0e9c-c03f-4fde-9113-11216b420c44" providerId="ADAL" clId="{8A22DB22-CE08-4237-BAFA-661B83772496}" dt="2024-06-05T18:33:18.979" v="25" actId="571"/>
          <ac:spMkLst>
            <pc:docMk/>
            <pc:sldMk cId="3194185217" sldId="5000"/>
            <ac:spMk id="76" creationId="{ABEE8544-1D26-9200-CDF0-D1350CA08421}"/>
          </ac:spMkLst>
        </pc:spChg>
        <pc:spChg chg="mod">
          <ac:chgData name="Elgee, Jeffrey (SPAC/PSPC)" userId="e10f0e9c-c03f-4fde-9113-11216b420c44" providerId="ADAL" clId="{8A22DB22-CE08-4237-BAFA-661B83772496}" dt="2024-06-05T18:33:18.979" v="25" actId="571"/>
          <ac:spMkLst>
            <pc:docMk/>
            <pc:sldMk cId="3194185217" sldId="5000"/>
            <ac:spMk id="77" creationId="{E44F8EE3-ED60-217F-00DB-6DEA5587984D}"/>
          </ac:spMkLst>
        </pc:spChg>
        <pc:spChg chg="mod">
          <ac:chgData name="Elgee, Jeffrey (SPAC/PSPC)" userId="e10f0e9c-c03f-4fde-9113-11216b420c44" providerId="ADAL" clId="{8A22DB22-CE08-4237-BAFA-661B83772496}" dt="2024-06-05T18:33:18.979" v="25" actId="571"/>
          <ac:spMkLst>
            <pc:docMk/>
            <pc:sldMk cId="3194185217" sldId="5000"/>
            <ac:spMk id="78" creationId="{721FD5B1-B8E8-81F5-1A1C-B73F2499E044}"/>
          </ac:spMkLst>
        </pc:spChg>
        <pc:spChg chg="mod">
          <ac:chgData name="Elgee, Jeffrey (SPAC/PSPC)" userId="e10f0e9c-c03f-4fde-9113-11216b420c44" providerId="ADAL" clId="{8A22DB22-CE08-4237-BAFA-661B83772496}" dt="2024-06-05T18:33:18.979" v="25" actId="571"/>
          <ac:spMkLst>
            <pc:docMk/>
            <pc:sldMk cId="3194185217" sldId="5000"/>
            <ac:spMk id="79" creationId="{59CB107C-EFA5-0571-874A-71E040057DA9}"/>
          </ac:spMkLst>
        </pc:spChg>
        <pc:spChg chg="mod">
          <ac:chgData name="Elgee, Jeffrey (SPAC/PSPC)" userId="e10f0e9c-c03f-4fde-9113-11216b420c44" providerId="ADAL" clId="{8A22DB22-CE08-4237-BAFA-661B83772496}" dt="2024-06-05T18:33:18.979" v="25" actId="571"/>
          <ac:spMkLst>
            <pc:docMk/>
            <pc:sldMk cId="3194185217" sldId="5000"/>
            <ac:spMk id="80" creationId="{3628AC16-36E1-9F26-FCE2-3D4ACC068FED}"/>
          </ac:spMkLst>
        </pc:spChg>
        <pc:spChg chg="mod">
          <ac:chgData name="Elgee, Jeffrey (SPAC/PSPC)" userId="e10f0e9c-c03f-4fde-9113-11216b420c44" providerId="ADAL" clId="{8A22DB22-CE08-4237-BAFA-661B83772496}" dt="2024-06-05T18:33:18.979" v="25" actId="571"/>
          <ac:spMkLst>
            <pc:docMk/>
            <pc:sldMk cId="3194185217" sldId="5000"/>
            <ac:spMk id="81" creationId="{55B8F6F9-30B5-38AD-5C41-FF97AE574FB1}"/>
          </ac:spMkLst>
        </pc:spChg>
        <pc:spChg chg="mod">
          <ac:chgData name="Elgee, Jeffrey (SPAC/PSPC)" userId="e10f0e9c-c03f-4fde-9113-11216b420c44" providerId="ADAL" clId="{8A22DB22-CE08-4237-BAFA-661B83772496}" dt="2024-06-05T18:33:18.979" v="25" actId="571"/>
          <ac:spMkLst>
            <pc:docMk/>
            <pc:sldMk cId="3194185217" sldId="5000"/>
            <ac:spMk id="82" creationId="{04074352-6561-469C-9CA8-58B3994C0B48}"/>
          </ac:spMkLst>
        </pc:spChg>
        <pc:spChg chg="mod">
          <ac:chgData name="Elgee, Jeffrey (SPAC/PSPC)" userId="e10f0e9c-c03f-4fde-9113-11216b420c44" providerId="ADAL" clId="{8A22DB22-CE08-4237-BAFA-661B83772496}" dt="2024-06-05T18:33:18.979" v="25" actId="571"/>
          <ac:spMkLst>
            <pc:docMk/>
            <pc:sldMk cId="3194185217" sldId="5000"/>
            <ac:spMk id="83" creationId="{1FF1D28E-71DB-BB24-D0F9-B7127B862037}"/>
          </ac:spMkLst>
        </pc:spChg>
        <pc:spChg chg="mod">
          <ac:chgData name="Elgee, Jeffrey (SPAC/PSPC)" userId="e10f0e9c-c03f-4fde-9113-11216b420c44" providerId="ADAL" clId="{8A22DB22-CE08-4237-BAFA-661B83772496}" dt="2024-06-05T18:33:18.979" v="25" actId="571"/>
          <ac:spMkLst>
            <pc:docMk/>
            <pc:sldMk cId="3194185217" sldId="5000"/>
            <ac:spMk id="84" creationId="{4A95BE5C-9695-5A49-5F7B-42E0D306B511}"/>
          </ac:spMkLst>
        </pc:spChg>
        <pc:spChg chg="mod">
          <ac:chgData name="Elgee, Jeffrey (SPAC/PSPC)" userId="e10f0e9c-c03f-4fde-9113-11216b420c44" providerId="ADAL" clId="{8A22DB22-CE08-4237-BAFA-661B83772496}" dt="2024-06-05T18:36:23.554" v="38" actId="207"/>
          <ac:spMkLst>
            <pc:docMk/>
            <pc:sldMk cId="3194185217" sldId="5000"/>
            <ac:spMk id="85" creationId="{C71A26AD-7EF2-1E88-3459-C38894A489EA}"/>
          </ac:spMkLst>
        </pc:spChg>
        <pc:spChg chg="mod">
          <ac:chgData name="Elgee, Jeffrey (SPAC/PSPC)" userId="e10f0e9c-c03f-4fde-9113-11216b420c44" providerId="ADAL" clId="{8A22DB22-CE08-4237-BAFA-661B83772496}" dt="2024-06-05T18:33:18.979" v="25" actId="571"/>
          <ac:spMkLst>
            <pc:docMk/>
            <pc:sldMk cId="3194185217" sldId="5000"/>
            <ac:spMk id="86" creationId="{E2DC76E6-D970-DFF5-B90F-B7A37D44948C}"/>
          </ac:spMkLst>
        </pc:spChg>
        <pc:spChg chg="mod">
          <ac:chgData name="Elgee, Jeffrey (SPAC/PSPC)" userId="e10f0e9c-c03f-4fde-9113-11216b420c44" providerId="ADAL" clId="{8A22DB22-CE08-4237-BAFA-661B83772496}" dt="2024-06-05T18:33:18.979" v="25" actId="571"/>
          <ac:spMkLst>
            <pc:docMk/>
            <pc:sldMk cId="3194185217" sldId="5000"/>
            <ac:spMk id="87" creationId="{F30F4DAF-7030-3561-F330-42BCA5B33E01}"/>
          </ac:spMkLst>
        </pc:spChg>
        <pc:spChg chg="mod">
          <ac:chgData name="Elgee, Jeffrey (SPAC/PSPC)" userId="e10f0e9c-c03f-4fde-9113-11216b420c44" providerId="ADAL" clId="{8A22DB22-CE08-4237-BAFA-661B83772496}" dt="2024-06-05T18:33:18.979" v="25" actId="571"/>
          <ac:spMkLst>
            <pc:docMk/>
            <pc:sldMk cId="3194185217" sldId="5000"/>
            <ac:spMk id="88" creationId="{3C579C58-B8F2-9B89-39A4-CE396AD876FA}"/>
          </ac:spMkLst>
        </pc:spChg>
        <pc:spChg chg="mod">
          <ac:chgData name="Elgee, Jeffrey (SPAC/PSPC)" userId="e10f0e9c-c03f-4fde-9113-11216b420c44" providerId="ADAL" clId="{8A22DB22-CE08-4237-BAFA-661B83772496}" dt="2024-06-05T18:33:18.979" v="25" actId="571"/>
          <ac:spMkLst>
            <pc:docMk/>
            <pc:sldMk cId="3194185217" sldId="5000"/>
            <ac:spMk id="89" creationId="{77BAA2A7-9892-D252-FEB0-4274F4B26BFB}"/>
          </ac:spMkLst>
        </pc:spChg>
        <pc:spChg chg="mod">
          <ac:chgData name="Elgee, Jeffrey (SPAC/PSPC)" userId="e10f0e9c-c03f-4fde-9113-11216b420c44" providerId="ADAL" clId="{8A22DB22-CE08-4237-BAFA-661B83772496}" dt="2024-06-05T18:33:18.979" v="25" actId="571"/>
          <ac:spMkLst>
            <pc:docMk/>
            <pc:sldMk cId="3194185217" sldId="5000"/>
            <ac:spMk id="90" creationId="{20801CB3-FA6C-754B-C6C6-26EDFB7EF772}"/>
          </ac:spMkLst>
        </pc:spChg>
        <pc:spChg chg="mod">
          <ac:chgData name="Elgee, Jeffrey (SPAC/PSPC)" userId="e10f0e9c-c03f-4fde-9113-11216b420c44" providerId="ADAL" clId="{8A22DB22-CE08-4237-BAFA-661B83772496}" dt="2024-06-05T18:33:18.979" v="25" actId="571"/>
          <ac:spMkLst>
            <pc:docMk/>
            <pc:sldMk cId="3194185217" sldId="5000"/>
            <ac:spMk id="91" creationId="{0200689D-EE6B-6145-A12C-BE279410E9F1}"/>
          </ac:spMkLst>
        </pc:spChg>
        <pc:spChg chg="mod">
          <ac:chgData name="Elgee, Jeffrey (SPAC/PSPC)" userId="e10f0e9c-c03f-4fde-9113-11216b420c44" providerId="ADAL" clId="{8A22DB22-CE08-4237-BAFA-661B83772496}" dt="2024-06-05T20:47:12.647" v="153" actId="207"/>
          <ac:spMkLst>
            <pc:docMk/>
            <pc:sldMk cId="3194185217" sldId="5000"/>
            <ac:spMk id="92" creationId="{2B387E84-5579-4099-4E6C-397361752321}"/>
          </ac:spMkLst>
        </pc:spChg>
        <pc:spChg chg="mod">
          <ac:chgData name="Elgee, Jeffrey (SPAC/PSPC)" userId="e10f0e9c-c03f-4fde-9113-11216b420c44" providerId="ADAL" clId="{8A22DB22-CE08-4237-BAFA-661B83772496}" dt="2024-06-05T18:33:18.979" v="25" actId="571"/>
          <ac:spMkLst>
            <pc:docMk/>
            <pc:sldMk cId="3194185217" sldId="5000"/>
            <ac:spMk id="93" creationId="{9A0275B6-C321-7E11-4AF0-0FFBB26A3840}"/>
          </ac:spMkLst>
        </pc:spChg>
        <pc:spChg chg="mod">
          <ac:chgData name="Elgee, Jeffrey (SPAC/PSPC)" userId="e10f0e9c-c03f-4fde-9113-11216b420c44" providerId="ADAL" clId="{8A22DB22-CE08-4237-BAFA-661B83772496}" dt="2024-06-05T18:33:18.979" v="25" actId="571"/>
          <ac:spMkLst>
            <pc:docMk/>
            <pc:sldMk cId="3194185217" sldId="5000"/>
            <ac:spMk id="94" creationId="{816E36D8-4D0D-276D-9D29-0E1CF4EA29AF}"/>
          </ac:spMkLst>
        </pc:spChg>
        <pc:spChg chg="mod">
          <ac:chgData name="Elgee, Jeffrey (SPAC/PSPC)" userId="e10f0e9c-c03f-4fde-9113-11216b420c44" providerId="ADAL" clId="{8A22DB22-CE08-4237-BAFA-661B83772496}" dt="2024-06-05T18:33:18.979" v="25" actId="571"/>
          <ac:spMkLst>
            <pc:docMk/>
            <pc:sldMk cId="3194185217" sldId="5000"/>
            <ac:spMk id="95" creationId="{B406834C-98FA-B5CC-19A2-C0A6B60B4A99}"/>
          </ac:spMkLst>
        </pc:spChg>
        <pc:spChg chg="mod">
          <ac:chgData name="Elgee, Jeffrey (SPAC/PSPC)" userId="e10f0e9c-c03f-4fde-9113-11216b420c44" providerId="ADAL" clId="{8A22DB22-CE08-4237-BAFA-661B83772496}" dt="2024-06-05T18:33:18.979" v="25" actId="571"/>
          <ac:spMkLst>
            <pc:docMk/>
            <pc:sldMk cId="3194185217" sldId="5000"/>
            <ac:spMk id="96" creationId="{D23CECA9-93C2-90B1-7592-4A25ED3A0C27}"/>
          </ac:spMkLst>
        </pc:spChg>
        <pc:spChg chg="mod">
          <ac:chgData name="Elgee, Jeffrey (SPAC/PSPC)" userId="e10f0e9c-c03f-4fde-9113-11216b420c44" providerId="ADAL" clId="{8A22DB22-CE08-4237-BAFA-661B83772496}" dt="2024-06-05T18:33:18.979" v="25" actId="571"/>
          <ac:spMkLst>
            <pc:docMk/>
            <pc:sldMk cId="3194185217" sldId="5000"/>
            <ac:spMk id="97" creationId="{D72090B6-A1EC-D213-3FC8-3B15E5F8EE7B}"/>
          </ac:spMkLst>
        </pc:spChg>
        <pc:spChg chg="mod">
          <ac:chgData name="Elgee, Jeffrey (SPAC/PSPC)" userId="e10f0e9c-c03f-4fde-9113-11216b420c44" providerId="ADAL" clId="{8A22DB22-CE08-4237-BAFA-661B83772496}" dt="2024-06-05T18:33:18.979" v="25" actId="571"/>
          <ac:spMkLst>
            <pc:docMk/>
            <pc:sldMk cId="3194185217" sldId="5000"/>
            <ac:spMk id="98" creationId="{ADAB80AC-6DD5-8EE6-B759-3EA42BF3ACFD}"/>
          </ac:spMkLst>
        </pc:spChg>
        <pc:spChg chg="mod">
          <ac:chgData name="Elgee, Jeffrey (SPAC/PSPC)" userId="e10f0e9c-c03f-4fde-9113-11216b420c44" providerId="ADAL" clId="{8A22DB22-CE08-4237-BAFA-661B83772496}" dt="2024-06-05T18:33:18.979" v="25" actId="571"/>
          <ac:spMkLst>
            <pc:docMk/>
            <pc:sldMk cId="3194185217" sldId="5000"/>
            <ac:spMk id="99" creationId="{389D62A2-FE11-DD73-317F-43A87E51B559}"/>
          </ac:spMkLst>
        </pc:spChg>
        <pc:spChg chg="mod">
          <ac:chgData name="Elgee, Jeffrey (SPAC/PSPC)" userId="e10f0e9c-c03f-4fde-9113-11216b420c44" providerId="ADAL" clId="{8A22DB22-CE08-4237-BAFA-661B83772496}" dt="2024-06-05T18:33:18.979" v="25" actId="571"/>
          <ac:spMkLst>
            <pc:docMk/>
            <pc:sldMk cId="3194185217" sldId="5000"/>
            <ac:spMk id="100" creationId="{D91AB6BE-C04A-6C05-113A-8ADF629FDD96}"/>
          </ac:spMkLst>
        </pc:spChg>
        <pc:spChg chg="mod">
          <ac:chgData name="Elgee, Jeffrey (SPAC/PSPC)" userId="e10f0e9c-c03f-4fde-9113-11216b420c44" providerId="ADAL" clId="{8A22DB22-CE08-4237-BAFA-661B83772496}" dt="2024-06-05T18:33:18.979" v="25" actId="571"/>
          <ac:spMkLst>
            <pc:docMk/>
            <pc:sldMk cId="3194185217" sldId="5000"/>
            <ac:spMk id="101" creationId="{D19B3D59-CE70-9AAF-5F4D-AD2B21591581}"/>
          </ac:spMkLst>
        </pc:spChg>
        <pc:spChg chg="mod">
          <ac:chgData name="Elgee, Jeffrey (SPAC/PSPC)" userId="e10f0e9c-c03f-4fde-9113-11216b420c44" providerId="ADAL" clId="{8A22DB22-CE08-4237-BAFA-661B83772496}" dt="2024-06-05T18:33:18.979" v="25" actId="571"/>
          <ac:spMkLst>
            <pc:docMk/>
            <pc:sldMk cId="3194185217" sldId="5000"/>
            <ac:spMk id="102" creationId="{5F15206B-AF40-C0D7-43C0-FCBF2BE3D662}"/>
          </ac:spMkLst>
        </pc:spChg>
        <pc:spChg chg="mod">
          <ac:chgData name="Elgee, Jeffrey (SPAC/PSPC)" userId="e10f0e9c-c03f-4fde-9113-11216b420c44" providerId="ADAL" clId="{8A22DB22-CE08-4237-BAFA-661B83772496}" dt="2024-06-05T18:33:18.979" v="25" actId="571"/>
          <ac:spMkLst>
            <pc:docMk/>
            <pc:sldMk cId="3194185217" sldId="5000"/>
            <ac:spMk id="103" creationId="{73BCBDA4-3439-52CC-0AC5-E9A1BA5136E5}"/>
          </ac:spMkLst>
        </pc:spChg>
        <pc:spChg chg="mod">
          <ac:chgData name="Elgee, Jeffrey (SPAC/PSPC)" userId="e10f0e9c-c03f-4fde-9113-11216b420c44" providerId="ADAL" clId="{8A22DB22-CE08-4237-BAFA-661B83772496}" dt="2024-06-05T18:33:18.979" v="25" actId="571"/>
          <ac:spMkLst>
            <pc:docMk/>
            <pc:sldMk cId="3194185217" sldId="5000"/>
            <ac:spMk id="104" creationId="{3F9EB8F3-DA5A-AF9B-C644-37D3658500E5}"/>
          </ac:spMkLst>
        </pc:spChg>
        <pc:spChg chg="mod">
          <ac:chgData name="Elgee, Jeffrey (SPAC/PSPC)" userId="e10f0e9c-c03f-4fde-9113-11216b420c44" providerId="ADAL" clId="{8A22DB22-CE08-4237-BAFA-661B83772496}" dt="2024-06-05T18:33:18.979" v="25" actId="571"/>
          <ac:spMkLst>
            <pc:docMk/>
            <pc:sldMk cId="3194185217" sldId="5000"/>
            <ac:spMk id="105" creationId="{8BF6627A-8472-6A0E-56EB-E1B3F5F10BD3}"/>
          </ac:spMkLst>
        </pc:spChg>
        <pc:spChg chg="mod">
          <ac:chgData name="Elgee, Jeffrey (SPAC/PSPC)" userId="e10f0e9c-c03f-4fde-9113-11216b420c44" providerId="ADAL" clId="{8A22DB22-CE08-4237-BAFA-661B83772496}" dt="2024-06-05T18:33:18.979" v="25" actId="571"/>
          <ac:spMkLst>
            <pc:docMk/>
            <pc:sldMk cId="3194185217" sldId="5000"/>
            <ac:spMk id="106" creationId="{5DD57F77-E0AF-D320-4623-3869B46E9703}"/>
          </ac:spMkLst>
        </pc:spChg>
        <pc:spChg chg="mod">
          <ac:chgData name="Elgee, Jeffrey (SPAC/PSPC)" userId="e10f0e9c-c03f-4fde-9113-11216b420c44" providerId="ADAL" clId="{8A22DB22-CE08-4237-BAFA-661B83772496}" dt="2024-06-05T18:33:18.979" v="25" actId="571"/>
          <ac:spMkLst>
            <pc:docMk/>
            <pc:sldMk cId="3194185217" sldId="5000"/>
            <ac:spMk id="107" creationId="{DDCD925C-ECC0-F97C-9306-C165B8EA96D1}"/>
          </ac:spMkLst>
        </pc:spChg>
        <pc:spChg chg="mod">
          <ac:chgData name="Elgee, Jeffrey (SPAC/PSPC)" userId="e10f0e9c-c03f-4fde-9113-11216b420c44" providerId="ADAL" clId="{8A22DB22-CE08-4237-BAFA-661B83772496}" dt="2024-06-05T18:33:18.979" v="25" actId="571"/>
          <ac:spMkLst>
            <pc:docMk/>
            <pc:sldMk cId="3194185217" sldId="5000"/>
            <ac:spMk id="108" creationId="{0E77B50D-F610-6699-DC7D-37A5BDDBAE68}"/>
          </ac:spMkLst>
        </pc:spChg>
        <pc:spChg chg="mod">
          <ac:chgData name="Elgee, Jeffrey (SPAC/PSPC)" userId="e10f0e9c-c03f-4fde-9113-11216b420c44" providerId="ADAL" clId="{8A22DB22-CE08-4237-BAFA-661B83772496}" dt="2024-06-05T18:37:55.348" v="43" actId="14100"/>
          <ac:spMkLst>
            <pc:docMk/>
            <pc:sldMk cId="3194185217" sldId="5000"/>
            <ac:spMk id="109" creationId="{8DC427F7-B6DC-88F8-B838-FFA6C60362CF}"/>
          </ac:spMkLst>
        </pc:spChg>
        <pc:spChg chg="add mod">
          <ac:chgData name="Elgee, Jeffrey (SPAC/PSPC)" userId="e10f0e9c-c03f-4fde-9113-11216b420c44" providerId="ADAL" clId="{8A22DB22-CE08-4237-BAFA-661B83772496}" dt="2024-06-05T18:32:13.357" v="14" actId="571"/>
          <ac:spMkLst>
            <pc:docMk/>
            <pc:sldMk cId="3194185217" sldId="5000"/>
            <ac:spMk id="217" creationId="{99EA2EC1-BB97-2C88-818B-1475703F6015}"/>
          </ac:spMkLst>
        </pc:spChg>
        <pc:spChg chg="add mod">
          <ac:chgData name="Elgee, Jeffrey (SPAC/PSPC)" userId="e10f0e9c-c03f-4fde-9113-11216b420c44" providerId="ADAL" clId="{8A22DB22-CE08-4237-BAFA-661B83772496}" dt="2024-06-05T18:32:13.357" v="14" actId="571"/>
          <ac:spMkLst>
            <pc:docMk/>
            <pc:sldMk cId="3194185217" sldId="5000"/>
            <ac:spMk id="218" creationId="{13FF909F-32FD-5F98-B859-417D52CE8E72}"/>
          </ac:spMkLst>
        </pc:spChg>
        <pc:spChg chg="add mod">
          <ac:chgData name="Elgee, Jeffrey (SPAC/PSPC)" userId="e10f0e9c-c03f-4fde-9113-11216b420c44" providerId="ADAL" clId="{8A22DB22-CE08-4237-BAFA-661B83772496}" dt="2024-06-05T18:32:13.357" v="14" actId="571"/>
          <ac:spMkLst>
            <pc:docMk/>
            <pc:sldMk cId="3194185217" sldId="5000"/>
            <ac:spMk id="219" creationId="{D09E03BE-5507-5815-E171-766403FDD677}"/>
          </ac:spMkLst>
        </pc:spChg>
        <pc:spChg chg="add mod">
          <ac:chgData name="Elgee, Jeffrey (SPAC/PSPC)" userId="e10f0e9c-c03f-4fde-9113-11216b420c44" providerId="ADAL" clId="{8A22DB22-CE08-4237-BAFA-661B83772496}" dt="2024-06-05T18:32:13.357" v="14" actId="571"/>
          <ac:spMkLst>
            <pc:docMk/>
            <pc:sldMk cId="3194185217" sldId="5000"/>
            <ac:spMk id="220" creationId="{86E2289E-3BA0-2858-9CD7-57FDCA0A9910}"/>
          </ac:spMkLst>
        </pc:spChg>
        <pc:spChg chg="add mod">
          <ac:chgData name="Elgee, Jeffrey (SPAC/PSPC)" userId="e10f0e9c-c03f-4fde-9113-11216b420c44" providerId="ADAL" clId="{8A22DB22-CE08-4237-BAFA-661B83772496}" dt="2024-06-05T18:32:13.357" v="14" actId="571"/>
          <ac:spMkLst>
            <pc:docMk/>
            <pc:sldMk cId="3194185217" sldId="5000"/>
            <ac:spMk id="221" creationId="{80E135DC-C0E1-1F93-8434-5C0EBD059C6A}"/>
          </ac:spMkLst>
        </pc:spChg>
        <pc:spChg chg="add mod">
          <ac:chgData name="Elgee, Jeffrey (SPAC/PSPC)" userId="e10f0e9c-c03f-4fde-9113-11216b420c44" providerId="ADAL" clId="{8A22DB22-CE08-4237-BAFA-661B83772496}" dt="2024-06-05T18:32:13.357" v="14" actId="571"/>
          <ac:spMkLst>
            <pc:docMk/>
            <pc:sldMk cId="3194185217" sldId="5000"/>
            <ac:spMk id="222" creationId="{FBF3455D-1E83-3BCA-E244-9D8301483CC4}"/>
          </ac:spMkLst>
        </pc:spChg>
        <pc:spChg chg="add mod">
          <ac:chgData name="Elgee, Jeffrey (SPAC/PSPC)" userId="e10f0e9c-c03f-4fde-9113-11216b420c44" providerId="ADAL" clId="{8A22DB22-CE08-4237-BAFA-661B83772496}" dt="2024-06-05T18:33:18.979" v="25" actId="571"/>
          <ac:spMkLst>
            <pc:docMk/>
            <pc:sldMk cId="3194185217" sldId="5000"/>
            <ac:spMk id="223" creationId="{BBC052F8-EF1B-D470-7A9B-B645D01A3F09}"/>
          </ac:spMkLst>
        </pc:spChg>
        <pc:spChg chg="add mod">
          <ac:chgData name="Elgee, Jeffrey (SPAC/PSPC)" userId="e10f0e9c-c03f-4fde-9113-11216b420c44" providerId="ADAL" clId="{8A22DB22-CE08-4237-BAFA-661B83772496}" dt="2024-06-05T18:33:18.979" v="25" actId="571"/>
          <ac:spMkLst>
            <pc:docMk/>
            <pc:sldMk cId="3194185217" sldId="5000"/>
            <ac:spMk id="224" creationId="{E28D3259-58B8-C57F-4EDE-4B458D6576FD}"/>
          </ac:spMkLst>
        </pc:spChg>
        <pc:spChg chg="add mod">
          <ac:chgData name="Elgee, Jeffrey (SPAC/PSPC)" userId="e10f0e9c-c03f-4fde-9113-11216b420c44" providerId="ADAL" clId="{8A22DB22-CE08-4237-BAFA-661B83772496}" dt="2024-06-05T18:33:18.979" v="25" actId="571"/>
          <ac:spMkLst>
            <pc:docMk/>
            <pc:sldMk cId="3194185217" sldId="5000"/>
            <ac:spMk id="225" creationId="{CCBAD9AC-D193-30FA-6A0C-9FD11B8A2857}"/>
          </ac:spMkLst>
        </pc:spChg>
        <pc:spChg chg="add mod">
          <ac:chgData name="Elgee, Jeffrey (SPAC/PSPC)" userId="e10f0e9c-c03f-4fde-9113-11216b420c44" providerId="ADAL" clId="{8A22DB22-CE08-4237-BAFA-661B83772496}" dt="2024-06-05T18:33:18.979" v="25" actId="571"/>
          <ac:spMkLst>
            <pc:docMk/>
            <pc:sldMk cId="3194185217" sldId="5000"/>
            <ac:spMk id="226" creationId="{82179108-C6DE-C38B-248E-1CD78539C462}"/>
          </ac:spMkLst>
        </pc:spChg>
        <pc:spChg chg="mod">
          <ac:chgData name="Elgee, Jeffrey (SPAC/PSPC)" userId="e10f0e9c-c03f-4fde-9113-11216b420c44" providerId="ADAL" clId="{8A22DB22-CE08-4237-BAFA-661B83772496}" dt="2024-06-05T19:12:40.589" v="92" actId="20577"/>
          <ac:spMkLst>
            <pc:docMk/>
            <pc:sldMk cId="3194185217" sldId="5000"/>
            <ac:spMk id="228" creationId="{2C5C7B4D-E0D3-2A6C-661D-EE6F09B9B0CD}"/>
          </ac:spMkLst>
        </pc:spChg>
        <pc:spChg chg="mod">
          <ac:chgData name="Elgee, Jeffrey (SPAC/PSPC)" userId="e10f0e9c-c03f-4fde-9113-11216b420c44" providerId="ADAL" clId="{8A22DB22-CE08-4237-BAFA-661B83772496}" dt="2024-06-05T19:11:56.509" v="77"/>
          <ac:spMkLst>
            <pc:docMk/>
            <pc:sldMk cId="3194185217" sldId="5000"/>
            <ac:spMk id="231" creationId="{6FBD3BC9-B2A2-779B-12B9-885937EE9E25}"/>
          </ac:spMkLst>
        </pc:spChg>
        <pc:spChg chg="mod">
          <ac:chgData name="Elgee, Jeffrey (SPAC/PSPC)" userId="e10f0e9c-c03f-4fde-9113-11216b420c44" providerId="ADAL" clId="{8A22DB22-CE08-4237-BAFA-661B83772496}" dt="2024-06-05T19:11:56.509" v="77"/>
          <ac:spMkLst>
            <pc:docMk/>
            <pc:sldMk cId="3194185217" sldId="5000"/>
            <ac:spMk id="232" creationId="{FF065F58-F2EC-0948-DEE7-13DEBE3A1792}"/>
          </ac:spMkLst>
        </pc:spChg>
        <pc:spChg chg="mod">
          <ac:chgData name="Elgee, Jeffrey (SPAC/PSPC)" userId="e10f0e9c-c03f-4fde-9113-11216b420c44" providerId="ADAL" clId="{8A22DB22-CE08-4237-BAFA-661B83772496}" dt="2024-06-05T19:11:56.509" v="77"/>
          <ac:spMkLst>
            <pc:docMk/>
            <pc:sldMk cId="3194185217" sldId="5000"/>
            <ac:spMk id="233" creationId="{4DB2FB09-DEBD-AFCE-699F-3C6EF9579BC7}"/>
          </ac:spMkLst>
        </pc:spChg>
        <pc:spChg chg="del mod">
          <ac:chgData name="Elgee, Jeffrey (SPAC/PSPC)" userId="e10f0e9c-c03f-4fde-9113-11216b420c44" providerId="ADAL" clId="{8A22DB22-CE08-4237-BAFA-661B83772496}" dt="2024-06-05T20:39:08.172" v="105" actId="478"/>
          <ac:spMkLst>
            <pc:docMk/>
            <pc:sldMk cId="3194185217" sldId="5000"/>
            <ac:spMk id="234" creationId="{FE63E28B-82BC-4A8E-0498-57B4AF27FEC3}"/>
          </ac:spMkLst>
        </pc:spChg>
        <pc:spChg chg="del mod">
          <ac:chgData name="Elgee, Jeffrey (SPAC/PSPC)" userId="e10f0e9c-c03f-4fde-9113-11216b420c44" providerId="ADAL" clId="{8A22DB22-CE08-4237-BAFA-661B83772496}" dt="2024-06-05T20:39:08.172" v="105" actId="478"/>
          <ac:spMkLst>
            <pc:docMk/>
            <pc:sldMk cId="3194185217" sldId="5000"/>
            <ac:spMk id="235" creationId="{55910E4A-762F-D699-2DE0-C90C775F5FE6}"/>
          </ac:spMkLst>
        </pc:spChg>
        <pc:spChg chg="del mod">
          <ac:chgData name="Elgee, Jeffrey (SPAC/PSPC)" userId="e10f0e9c-c03f-4fde-9113-11216b420c44" providerId="ADAL" clId="{8A22DB22-CE08-4237-BAFA-661B83772496}" dt="2024-06-05T20:39:08.172" v="105" actId="478"/>
          <ac:spMkLst>
            <pc:docMk/>
            <pc:sldMk cId="3194185217" sldId="5000"/>
            <ac:spMk id="236" creationId="{FF977502-34E2-F458-9B28-9AF3F24F08E8}"/>
          </ac:spMkLst>
        </pc:spChg>
        <pc:spChg chg="del mod">
          <ac:chgData name="Elgee, Jeffrey (SPAC/PSPC)" userId="e10f0e9c-c03f-4fde-9113-11216b420c44" providerId="ADAL" clId="{8A22DB22-CE08-4237-BAFA-661B83772496}" dt="2024-06-05T20:40:05.421" v="111" actId="478"/>
          <ac:spMkLst>
            <pc:docMk/>
            <pc:sldMk cId="3194185217" sldId="5000"/>
            <ac:spMk id="237" creationId="{FDA2061D-F7B8-69CA-4BE4-3610864E7DF2}"/>
          </ac:spMkLst>
        </pc:spChg>
        <pc:spChg chg="del mod">
          <ac:chgData name="Elgee, Jeffrey (SPAC/PSPC)" userId="e10f0e9c-c03f-4fde-9113-11216b420c44" providerId="ADAL" clId="{8A22DB22-CE08-4237-BAFA-661B83772496}" dt="2024-06-05T20:39:58.097" v="110" actId="478"/>
          <ac:spMkLst>
            <pc:docMk/>
            <pc:sldMk cId="3194185217" sldId="5000"/>
            <ac:spMk id="238" creationId="{AB75D914-B323-5020-2CEB-C5F6BDEB82ED}"/>
          </ac:spMkLst>
        </pc:spChg>
        <pc:spChg chg="del mod">
          <ac:chgData name="Elgee, Jeffrey (SPAC/PSPC)" userId="e10f0e9c-c03f-4fde-9113-11216b420c44" providerId="ADAL" clId="{8A22DB22-CE08-4237-BAFA-661B83772496}" dt="2024-06-05T20:39:33.361" v="106" actId="478"/>
          <ac:spMkLst>
            <pc:docMk/>
            <pc:sldMk cId="3194185217" sldId="5000"/>
            <ac:spMk id="239" creationId="{A0710CC4-E0AF-CDFC-0E22-3A1ABFB2F146}"/>
          </ac:spMkLst>
        </pc:spChg>
        <pc:spChg chg="del mod">
          <ac:chgData name="Elgee, Jeffrey (SPAC/PSPC)" userId="e10f0e9c-c03f-4fde-9113-11216b420c44" providerId="ADAL" clId="{8A22DB22-CE08-4237-BAFA-661B83772496}" dt="2024-06-05T20:39:33.361" v="106" actId="478"/>
          <ac:spMkLst>
            <pc:docMk/>
            <pc:sldMk cId="3194185217" sldId="5000"/>
            <ac:spMk id="240" creationId="{C95A2EE8-CB68-1BCE-761A-E722142C13C9}"/>
          </ac:spMkLst>
        </pc:spChg>
        <pc:spChg chg="del mod">
          <ac:chgData name="Elgee, Jeffrey (SPAC/PSPC)" userId="e10f0e9c-c03f-4fde-9113-11216b420c44" providerId="ADAL" clId="{8A22DB22-CE08-4237-BAFA-661B83772496}" dt="2024-06-05T20:39:33.361" v="106" actId="478"/>
          <ac:spMkLst>
            <pc:docMk/>
            <pc:sldMk cId="3194185217" sldId="5000"/>
            <ac:spMk id="241" creationId="{8C194FB7-9F52-E3EE-7676-17DCDB04AE55}"/>
          </ac:spMkLst>
        </pc:spChg>
        <pc:spChg chg="del mod">
          <ac:chgData name="Elgee, Jeffrey (SPAC/PSPC)" userId="e10f0e9c-c03f-4fde-9113-11216b420c44" providerId="ADAL" clId="{8A22DB22-CE08-4237-BAFA-661B83772496}" dt="2024-06-05T20:39:33.361" v="106" actId="478"/>
          <ac:spMkLst>
            <pc:docMk/>
            <pc:sldMk cId="3194185217" sldId="5000"/>
            <ac:spMk id="242" creationId="{59C71B78-78CB-21FE-BECC-C8E5A4DAD241}"/>
          </ac:spMkLst>
        </pc:spChg>
        <pc:spChg chg="del mod">
          <ac:chgData name="Elgee, Jeffrey (SPAC/PSPC)" userId="e10f0e9c-c03f-4fde-9113-11216b420c44" providerId="ADAL" clId="{8A22DB22-CE08-4237-BAFA-661B83772496}" dt="2024-06-05T20:39:33.361" v="106" actId="478"/>
          <ac:spMkLst>
            <pc:docMk/>
            <pc:sldMk cId="3194185217" sldId="5000"/>
            <ac:spMk id="243" creationId="{A9DABC0A-E359-A5EE-1B11-87E822FCBA40}"/>
          </ac:spMkLst>
        </pc:spChg>
        <pc:spChg chg="del mod">
          <ac:chgData name="Elgee, Jeffrey (SPAC/PSPC)" userId="e10f0e9c-c03f-4fde-9113-11216b420c44" providerId="ADAL" clId="{8A22DB22-CE08-4237-BAFA-661B83772496}" dt="2024-06-05T20:39:49.037" v="107" actId="478"/>
          <ac:spMkLst>
            <pc:docMk/>
            <pc:sldMk cId="3194185217" sldId="5000"/>
            <ac:spMk id="244" creationId="{82C1042D-4A74-A6F2-37D0-AB5E94D9DF87}"/>
          </ac:spMkLst>
        </pc:spChg>
        <pc:spChg chg="del mod">
          <ac:chgData name="Elgee, Jeffrey (SPAC/PSPC)" userId="e10f0e9c-c03f-4fde-9113-11216b420c44" providerId="ADAL" clId="{8A22DB22-CE08-4237-BAFA-661B83772496}" dt="2024-06-05T20:39:49.037" v="107" actId="478"/>
          <ac:spMkLst>
            <pc:docMk/>
            <pc:sldMk cId="3194185217" sldId="5000"/>
            <ac:spMk id="245" creationId="{FF9848DA-E03E-AFA3-4D98-25FCEB329B54}"/>
          </ac:spMkLst>
        </pc:spChg>
        <pc:spChg chg="del mod">
          <ac:chgData name="Elgee, Jeffrey (SPAC/PSPC)" userId="e10f0e9c-c03f-4fde-9113-11216b420c44" providerId="ADAL" clId="{8A22DB22-CE08-4237-BAFA-661B83772496}" dt="2024-06-05T20:39:49.037" v="107" actId="478"/>
          <ac:spMkLst>
            <pc:docMk/>
            <pc:sldMk cId="3194185217" sldId="5000"/>
            <ac:spMk id="246" creationId="{9FAB45F5-2430-C1BE-9545-09B72FADD865}"/>
          </ac:spMkLst>
        </pc:spChg>
        <pc:spChg chg="del mod">
          <ac:chgData name="Elgee, Jeffrey (SPAC/PSPC)" userId="e10f0e9c-c03f-4fde-9113-11216b420c44" providerId="ADAL" clId="{8A22DB22-CE08-4237-BAFA-661B83772496}" dt="2024-06-05T20:39:56.185" v="109" actId="478"/>
          <ac:spMkLst>
            <pc:docMk/>
            <pc:sldMk cId="3194185217" sldId="5000"/>
            <ac:spMk id="247" creationId="{6D3EBD79-AC94-B39D-21DA-1DB8B29A4CE4}"/>
          </ac:spMkLst>
        </pc:spChg>
        <pc:spChg chg="del mod">
          <ac:chgData name="Elgee, Jeffrey (SPAC/PSPC)" userId="e10f0e9c-c03f-4fde-9113-11216b420c44" providerId="ADAL" clId="{8A22DB22-CE08-4237-BAFA-661B83772496}" dt="2024-06-05T20:39:53.985" v="108" actId="478"/>
          <ac:spMkLst>
            <pc:docMk/>
            <pc:sldMk cId="3194185217" sldId="5000"/>
            <ac:spMk id="248" creationId="{BB279B71-C29A-77B4-D5B5-3371EFEC7F1C}"/>
          </ac:spMkLst>
        </pc:spChg>
        <pc:spChg chg="del mod">
          <ac:chgData name="Elgee, Jeffrey (SPAC/PSPC)" userId="e10f0e9c-c03f-4fde-9113-11216b420c44" providerId="ADAL" clId="{8A22DB22-CE08-4237-BAFA-661B83772496}" dt="2024-06-05T20:39:49.037" v="107" actId="478"/>
          <ac:spMkLst>
            <pc:docMk/>
            <pc:sldMk cId="3194185217" sldId="5000"/>
            <ac:spMk id="249" creationId="{6A64C2D4-EDC7-2747-70BF-6D8040EFCB67}"/>
          </ac:spMkLst>
        </pc:spChg>
        <pc:spChg chg="del mod">
          <ac:chgData name="Elgee, Jeffrey (SPAC/PSPC)" userId="e10f0e9c-c03f-4fde-9113-11216b420c44" providerId="ADAL" clId="{8A22DB22-CE08-4237-BAFA-661B83772496}" dt="2024-06-05T20:39:49.037" v="107" actId="478"/>
          <ac:spMkLst>
            <pc:docMk/>
            <pc:sldMk cId="3194185217" sldId="5000"/>
            <ac:spMk id="250" creationId="{64659E4C-ECE6-A12A-3F4E-2CDDABD40012}"/>
          </ac:spMkLst>
        </pc:spChg>
        <pc:spChg chg="del mod">
          <ac:chgData name="Elgee, Jeffrey (SPAC/PSPC)" userId="e10f0e9c-c03f-4fde-9113-11216b420c44" providerId="ADAL" clId="{8A22DB22-CE08-4237-BAFA-661B83772496}" dt="2024-06-05T20:39:08.172" v="105" actId="478"/>
          <ac:spMkLst>
            <pc:docMk/>
            <pc:sldMk cId="3194185217" sldId="5000"/>
            <ac:spMk id="251" creationId="{73C8AFBE-9B47-FEAC-29FD-415F361829A6}"/>
          </ac:spMkLst>
        </pc:spChg>
        <pc:spChg chg="del mod">
          <ac:chgData name="Elgee, Jeffrey (SPAC/PSPC)" userId="e10f0e9c-c03f-4fde-9113-11216b420c44" providerId="ADAL" clId="{8A22DB22-CE08-4237-BAFA-661B83772496}" dt="2024-06-05T20:39:49.037" v="107" actId="478"/>
          <ac:spMkLst>
            <pc:docMk/>
            <pc:sldMk cId="3194185217" sldId="5000"/>
            <ac:spMk id="252" creationId="{349F690C-C6AD-740E-7E9D-07200C0FF371}"/>
          </ac:spMkLst>
        </pc:spChg>
        <pc:spChg chg="del mod">
          <ac:chgData name="Elgee, Jeffrey (SPAC/PSPC)" userId="e10f0e9c-c03f-4fde-9113-11216b420c44" providerId="ADAL" clId="{8A22DB22-CE08-4237-BAFA-661B83772496}" dt="2024-06-05T20:39:49.037" v="107" actId="478"/>
          <ac:spMkLst>
            <pc:docMk/>
            <pc:sldMk cId="3194185217" sldId="5000"/>
            <ac:spMk id="253" creationId="{6906FDE3-6B2B-1D96-CE10-F9F8248A63FB}"/>
          </ac:spMkLst>
        </pc:spChg>
        <pc:spChg chg="del mod">
          <ac:chgData name="Elgee, Jeffrey (SPAC/PSPC)" userId="e10f0e9c-c03f-4fde-9113-11216b420c44" providerId="ADAL" clId="{8A22DB22-CE08-4237-BAFA-661B83772496}" dt="2024-06-05T20:39:33.361" v="106" actId="478"/>
          <ac:spMkLst>
            <pc:docMk/>
            <pc:sldMk cId="3194185217" sldId="5000"/>
            <ac:spMk id="254" creationId="{C8D46164-8A75-9280-997D-16318DB4B75B}"/>
          </ac:spMkLst>
        </pc:spChg>
        <pc:spChg chg="del mod">
          <ac:chgData name="Elgee, Jeffrey (SPAC/PSPC)" userId="e10f0e9c-c03f-4fde-9113-11216b420c44" providerId="ADAL" clId="{8A22DB22-CE08-4237-BAFA-661B83772496}" dt="2024-06-05T20:39:33.361" v="106" actId="478"/>
          <ac:spMkLst>
            <pc:docMk/>
            <pc:sldMk cId="3194185217" sldId="5000"/>
            <ac:spMk id="255" creationId="{5D35C939-558E-48F2-AC90-A5230BE8B87D}"/>
          </ac:spMkLst>
        </pc:spChg>
        <pc:spChg chg="del mod">
          <ac:chgData name="Elgee, Jeffrey (SPAC/PSPC)" userId="e10f0e9c-c03f-4fde-9113-11216b420c44" providerId="ADAL" clId="{8A22DB22-CE08-4237-BAFA-661B83772496}" dt="2024-06-05T20:39:33.361" v="106" actId="478"/>
          <ac:spMkLst>
            <pc:docMk/>
            <pc:sldMk cId="3194185217" sldId="5000"/>
            <ac:spMk id="256" creationId="{3BAAE381-D05E-6702-D2B6-5DE41E147AA4}"/>
          </ac:spMkLst>
        </pc:spChg>
        <pc:spChg chg="del mod">
          <ac:chgData name="Elgee, Jeffrey (SPAC/PSPC)" userId="e10f0e9c-c03f-4fde-9113-11216b420c44" providerId="ADAL" clId="{8A22DB22-CE08-4237-BAFA-661B83772496}" dt="2024-06-05T20:39:33.361" v="106" actId="478"/>
          <ac:spMkLst>
            <pc:docMk/>
            <pc:sldMk cId="3194185217" sldId="5000"/>
            <ac:spMk id="257" creationId="{36B2BC54-C26C-A3A9-22B7-BCCC17D2B817}"/>
          </ac:spMkLst>
        </pc:spChg>
        <pc:spChg chg="del mod">
          <ac:chgData name="Elgee, Jeffrey (SPAC/PSPC)" userId="e10f0e9c-c03f-4fde-9113-11216b420c44" providerId="ADAL" clId="{8A22DB22-CE08-4237-BAFA-661B83772496}" dt="2024-06-05T20:39:33.361" v="106" actId="478"/>
          <ac:spMkLst>
            <pc:docMk/>
            <pc:sldMk cId="3194185217" sldId="5000"/>
            <ac:spMk id="258" creationId="{A3333804-1635-40DE-ECD5-964FDD676641}"/>
          </ac:spMkLst>
        </pc:spChg>
        <pc:spChg chg="del mod">
          <ac:chgData name="Elgee, Jeffrey (SPAC/PSPC)" userId="e10f0e9c-c03f-4fde-9113-11216b420c44" providerId="ADAL" clId="{8A22DB22-CE08-4237-BAFA-661B83772496}" dt="2024-06-05T20:39:33.361" v="106" actId="478"/>
          <ac:spMkLst>
            <pc:docMk/>
            <pc:sldMk cId="3194185217" sldId="5000"/>
            <ac:spMk id="259" creationId="{87E18FCA-22AA-9659-B33A-1905FDDE40B9}"/>
          </ac:spMkLst>
        </pc:spChg>
        <pc:spChg chg="del mod">
          <ac:chgData name="Elgee, Jeffrey (SPAC/PSPC)" userId="e10f0e9c-c03f-4fde-9113-11216b420c44" providerId="ADAL" clId="{8A22DB22-CE08-4237-BAFA-661B83772496}" dt="2024-06-05T20:39:33.361" v="106" actId="478"/>
          <ac:spMkLst>
            <pc:docMk/>
            <pc:sldMk cId="3194185217" sldId="5000"/>
            <ac:spMk id="260" creationId="{1638795A-3ABF-4A23-185D-2E9B22C78F17}"/>
          </ac:spMkLst>
        </pc:spChg>
        <pc:spChg chg="mod">
          <ac:chgData name="Elgee, Jeffrey (SPAC/PSPC)" userId="e10f0e9c-c03f-4fde-9113-11216b420c44" providerId="ADAL" clId="{8A22DB22-CE08-4237-BAFA-661B83772496}" dt="2024-06-05T19:11:56.509" v="77"/>
          <ac:spMkLst>
            <pc:docMk/>
            <pc:sldMk cId="3194185217" sldId="5000"/>
            <ac:spMk id="263" creationId="{D73D1805-F830-5576-8486-46AF09F304F0}"/>
          </ac:spMkLst>
        </pc:spChg>
        <pc:spChg chg="mod">
          <ac:chgData name="Elgee, Jeffrey (SPAC/PSPC)" userId="e10f0e9c-c03f-4fde-9113-11216b420c44" providerId="ADAL" clId="{8A22DB22-CE08-4237-BAFA-661B83772496}" dt="2024-06-05T19:11:56.509" v="77"/>
          <ac:spMkLst>
            <pc:docMk/>
            <pc:sldMk cId="3194185217" sldId="5000"/>
            <ac:spMk id="265" creationId="{1A767E50-0F77-BF9A-2448-3A320B5D26AF}"/>
          </ac:spMkLst>
        </pc:spChg>
        <pc:spChg chg="mod">
          <ac:chgData name="Elgee, Jeffrey (SPAC/PSPC)" userId="e10f0e9c-c03f-4fde-9113-11216b420c44" providerId="ADAL" clId="{8A22DB22-CE08-4237-BAFA-661B83772496}" dt="2024-06-05T19:11:56.509" v="77"/>
          <ac:spMkLst>
            <pc:docMk/>
            <pc:sldMk cId="3194185217" sldId="5000"/>
            <ac:spMk id="266" creationId="{17AFEB20-076E-A228-3226-D82B48759F71}"/>
          </ac:spMkLst>
        </pc:spChg>
        <pc:spChg chg="mod">
          <ac:chgData name="Elgee, Jeffrey (SPAC/PSPC)" userId="e10f0e9c-c03f-4fde-9113-11216b420c44" providerId="ADAL" clId="{8A22DB22-CE08-4237-BAFA-661B83772496}" dt="2024-06-05T19:11:56.509" v="77"/>
          <ac:spMkLst>
            <pc:docMk/>
            <pc:sldMk cId="3194185217" sldId="5000"/>
            <ac:spMk id="268" creationId="{258B65CB-D247-F9E1-EDCA-FEA6F66FE970}"/>
          </ac:spMkLst>
        </pc:spChg>
        <pc:spChg chg="mod">
          <ac:chgData name="Elgee, Jeffrey (SPAC/PSPC)" userId="e10f0e9c-c03f-4fde-9113-11216b420c44" providerId="ADAL" clId="{8A22DB22-CE08-4237-BAFA-661B83772496}" dt="2024-06-05T19:11:56.509" v="77"/>
          <ac:spMkLst>
            <pc:docMk/>
            <pc:sldMk cId="3194185217" sldId="5000"/>
            <ac:spMk id="269" creationId="{531B218B-C9A8-F848-9B87-8D658B87F433}"/>
          </ac:spMkLst>
        </pc:spChg>
        <pc:spChg chg="mod">
          <ac:chgData name="Elgee, Jeffrey (SPAC/PSPC)" userId="e10f0e9c-c03f-4fde-9113-11216b420c44" providerId="ADAL" clId="{8A22DB22-CE08-4237-BAFA-661B83772496}" dt="2024-06-05T19:18:32.257" v="95" actId="207"/>
          <ac:spMkLst>
            <pc:docMk/>
            <pc:sldMk cId="3194185217" sldId="5000"/>
            <ac:spMk id="270" creationId="{0BB0B903-0398-1747-E909-63479AA91B94}"/>
          </ac:spMkLst>
        </pc:spChg>
        <pc:spChg chg="mod">
          <ac:chgData name="Elgee, Jeffrey (SPAC/PSPC)" userId="e10f0e9c-c03f-4fde-9113-11216b420c44" providerId="ADAL" clId="{8A22DB22-CE08-4237-BAFA-661B83772496}" dt="2024-06-05T19:11:56.509" v="77"/>
          <ac:spMkLst>
            <pc:docMk/>
            <pc:sldMk cId="3194185217" sldId="5000"/>
            <ac:spMk id="271" creationId="{C1E84DF3-872F-A72C-5659-01A7AD938776}"/>
          </ac:spMkLst>
        </pc:spChg>
        <pc:spChg chg="mod">
          <ac:chgData name="Elgee, Jeffrey (SPAC/PSPC)" userId="e10f0e9c-c03f-4fde-9113-11216b420c44" providerId="ADAL" clId="{8A22DB22-CE08-4237-BAFA-661B83772496}" dt="2024-06-05T19:11:56.509" v="77"/>
          <ac:spMkLst>
            <pc:docMk/>
            <pc:sldMk cId="3194185217" sldId="5000"/>
            <ac:spMk id="272" creationId="{239C2953-20ED-42D4-85A3-0A74D4A3BA40}"/>
          </ac:spMkLst>
        </pc:spChg>
        <pc:spChg chg="mod">
          <ac:chgData name="Elgee, Jeffrey (SPAC/PSPC)" userId="e10f0e9c-c03f-4fde-9113-11216b420c44" providerId="ADAL" clId="{8A22DB22-CE08-4237-BAFA-661B83772496}" dt="2024-06-05T19:11:56.509" v="77"/>
          <ac:spMkLst>
            <pc:docMk/>
            <pc:sldMk cId="3194185217" sldId="5000"/>
            <ac:spMk id="273" creationId="{325B3BC7-41BB-12FE-D668-CB00D156F1F8}"/>
          </ac:spMkLst>
        </pc:spChg>
        <pc:spChg chg="mod">
          <ac:chgData name="Elgee, Jeffrey (SPAC/PSPC)" userId="e10f0e9c-c03f-4fde-9113-11216b420c44" providerId="ADAL" clId="{8A22DB22-CE08-4237-BAFA-661B83772496}" dt="2024-06-05T19:18:40.562" v="97" actId="207"/>
          <ac:spMkLst>
            <pc:docMk/>
            <pc:sldMk cId="3194185217" sldId="5000"/>
            <ac:spMk id="274" creationId="{FD23ED44-65FB-0912-3705-68931A2ECAE1}"/>
          </ac:spMkLst>
        </pc:spChg>
        <pc:spChg chg="mod">
          <ac:chgData name="Elgee, Jeffrey (SPAC/PSPC)" userId="e10f0e9c-c03f-4fde-9113-11216b420c44" providerId="ADAL" clId="{8A22DB22-CE08-4237-BAFA-661B83772496}" dt="2024-06-05T19:11:56.509" v="77"/>
          <ac:spMkLst>
            <pc:docMk/>
            <pc:sldMk cId="3194185217" sldId="5000"/>
            <ac:spMk id="275" creationId="{4E8101E7-3FC2-1CFD-0CD0-1F258075DD63}"/>
          </ac:spMkLst>
        </pc:spChg>
        <pc:spChg chg="mod">
          <ac:chgData name="Elgee, Jeffrey (SPAC/PSPC)" userId="e10f0e9c-c03f-4fde-9113-11216b420c44" providerId="ADAL" clId="{8A22DB22-CE08-4237-BAFA-661B83772496}" dt="2024-06-05T19:18:48.088" v="98" actId="207"/>
          <ac:spMkLst>
            <pc:docMk/>
            <pc:sldMk cId="3194185217" sldId="5000"/>
            <ac:spMk id="276" creationId="{BC3DA3B1-43F3-64FD-7B81-6C468CEEDCD1}"/>
          </ac:spMkLst>
        </pc:spChg>
        <pc:spChg chg="mod">
          <ac:chgData name="Elgee, Jeffrey (SPAC/PSPC)" userId="e10f0e9c-c03f-4fde-9113-11216b420c44" providerId="ADAL" clId="{8A22DB22-CE08-4237-BAFA-661B83772496}" dt="2024-06-05T19:11:56.509" v="77"/>
          <ac:spMkLst>
            <pc:docMk/>
            <pc:sldMk cId="3194185217" sldId="5000"/>
            <ac:spMk id="277" creationId="{7B97C51C-869D-F58B-42FA-0383319230BA}"/>
          </ac:spMkLst>
        </pc:spChg>
        <pc:spChg chg="mod">
          <ac:chgData name="Elgee, Jeffrey (SPAC/PSPC)" userId="e10f0e9c-c03f-4fde-9113-11216b420c44" providerId="ADAL" clId="{8A22DB22-CE08-4237-BAFA-661B83772496}" dt="2024-06-05T19:18:37.229" v="96" actId="207"/>
          <ac:spMkLst>
            <pc:docMk/>
            <pc:sldMk cId="3194185217" sldId="5000"/>
            <ac:spMk id="278" creationId="{F42202AE-E304-7016-92B5-EF7B1A3B4262}"/>
          </ac:spMkLst>
        </pc:spChg>
        <pc:spChg chg="mod">
          <ac:chgData name="Elgee, Jeffrey (SPAC/PSPC)" userId="e10f0e9c-c03f-4fde-9113-11216b420c44" providerId="ADAL" clId="{8A22DB22-CE08-4237-BAFA-661B83772496}" dt="2024-06-05T19:19:02.050" v="99" actId="207"/>
          <ac:spMkLst>
            <pc:docMk/>
            <pc:sldMk cId="3194185217" sldId="5000"/>
            <ac:spMk id="279" creationId="{73A0909A-ED2B-C87B-7CF6-71EDAD8CFF93}"/>
          </ac:spMkLst>
        </pc:spChg>
        <pc:spChg chg="mod">
          <ac:chgData name="Elgee, Jeffrey (SPAC/PSPC)" userId="e10f0e9c-c03f-4fde-9113-11216b420c44" providerId="ADAL" clId="{8A22DB22-CE08-4237-BAFA-661B83772496}" dt="2024-06-05T19:11:56.509" v="77"/>
          <ac:spMkLst>
            <pc:docMk/>
            <pc:sldMk cId="3194185217" sldId="5000"/>
            <ac:spMk id="280" creationId="{7EADF11C-EDAB-EEDF-BA45-B538D967C5FE}"/>
          </ac:spMkLst>
        </pc:spChg>
        <pc:spChg chg="mod">
          <ac:chgData name="Elgee, Jeffrey (SPAC/PSPC)" userId="e10f0e9c-c03f-4fde-9113-11216b420c44" providerId="ADAL" clId="{8A22DB22-CE08-4237-BAFA-661B83772496}" dt="2024-06-05T19:11:56.509" v="77"/>
          <ac:spMkLst>
            <pc:docMk/>
            <pc:sldMk cId="3194185217" sldId="5000"/>
            <ac:spMk id="281" creationId="{129B6DB9-4AD5-62E3-9639-5DA217C6F243}"/>
          </ac:spMkLst>
        </pc:spChg>
        <pc:spChg chg="mod">
          <ac:chgData name="Elgee, Jeffrey (SPAC/PSPC)" userId="e10f0e9c-c03f-4fde-9113-11216b420c44" providerId="ADAL" clId="{8A22DB22-CE08-4237-BAFA-661B83772496}" dt="2024-06-05T19:11:56.509" v="77"/>
          <ac:spMkLst>
            <pc:docMk/>
            <pc:sldMk cId="3194185217" sldId="5000"/>
            <ac:spMk id="282" creationId="{C06F4A97-7C7F-038E-35B2-2F180B5F2728}"/>
          </ac:spMkLst>
        </pc:spChg>
        <pc:spChg chg="mod">
          <ac:chgData name="Elgee, Jeffrey (SPAC/PSPC)" userId="e10f0e9c-c03f-4fde-9113-11216b420c44" providerId="ADAL" clId="{8A22DB22-CE08-4237-BAFA-661B83772496}" dt="2024-06-05T19:11:56.509" v="77"/>
          <ac:spMkLst>
            <pc:docMk/>
            <pc:sldMk cId="3194185217" sldId="5000"/>
            <ac:spMk id="283" creationId="{E49B93A2-878E-9FD3-DB7F-A50CC5A08780}"/>
          </ac:spMkLst>
        </pc:spChg>
        <pc:spChg chg="mod">
          <ac:chgData name="Elgee, Jeffrey (SPAC/PSPC)" userId="e10f0e9c-c03f-4fde-9113-11216b420c44" providerId="ADAL" clId="{8A22DB22-CE08-4237-BAFA-661B83772496}" dt="2024-06-05T19:14:13.989" v="93" actId="207"/>
          <ac:spMkLst>
            <pc:docMk/>
            <pc:sldMk cId="3194185217" sldId="5000"/>
            <ac:spMk id="284" creationId="{E7E32919-A3D2-371F-02E9-51C95F5DD416}"/>
          </ac:spMkLst>
        </pc:spChg>
        <pc:spChg chg="mod">
          <ac:chgData name="Elgee, Jeffrey (SPAC/PSPC)" userId="e10f0e9c-c03f-4fde-9113-11216b420c44" providerId="ADAL" clId="{8A22DB22-CE08-4237-BAFA-661B83772496}" dt="2024-06-05T19:14:13.989" v="93" actId="207"/>
          <ac:spMkLst>
            <pc:docMk/>
            <pc:sldMk cId="3194185217" sldId="5000"/>
            <ac:spMk id="285" creationId="{16404AA8-FF8E-40B6-4022-A3C090A23FA9}"/>
          </ac:spMkLst>
        </pc:spChg>
        <pc:spChg chg="mod">
          <ac:chgData name="Elgee, Jeffrey (SPAC/PSPC)" userId="e10f0e9c-c03f-4fde-9113-11216b420c44" providerId="ADAL" clId="{8A22DB22-CE08-4237-BAFA-661B83772496}" dt="2024-06-05T19:14:13.989" v="93" actId="207"/>
          <ac:spMkLst>
            <pc:docMk/>
            <pc:sldMk cId="3194185217" sldId="5000"/>
            <ac:spMk id="286" creationId="{96729DA1-3915-A587-C4E7-7739DEE662F1}"/>
          </ac:spMkLst>
        </pc:spChg>
        <pc:spChg chg="mod">
          <ac:chgData name="Elgee, Jeffrey (SPAC/PSPC)" userId="e10f0e9c-c03f-4fde-9113-11216b420c44" providerId="ADAL" clId="{8A22DB22-CE08-4237-BAFA-661B83772496}" dt="2024-06-05T19:11:56.509" v="77"/>
          <ac:spMkLst>
            <pc:docMk/>
            <pc:sldMk cId="3194185217" sldId="5000"/>
            <ac:spMk id="287" creationId="{A4513DF9-FEE8-B0EE-C49A-16CCE8083760}"/>
          </ac:spMkLst>
        </pc:spChg>
        <pc:spChg chg="mod">
          <ac:chgData name="Elgee, Jeffrey (SPAC/PSPC)" userId="e10f0e9c-c03f-4fde-9113-11216b420c44" providerId="ADAL" clId="{8A22DB22-CE08-4237-BAFA-661B83772496}" dt="2024-06-05T19:11:56.509" v="77"/>
          <ac:spMkLst>
            <pc:docMk/>
            <pc:sldMk cId="3194185217" sldId="5000"/>
            <ac:spMk id="288" creationId="{1274EF2F-97C7-FD01-3B52-F78BAA6F44F3}"/>
          </ac:spMkLst>
        </pc:spChg>
        <pc:spChg chg="mod">
          <ac:chgData name="Elgee, Jeffrey (SPAC/PSPC)" userId="e10f0e9c-c03f-4fde-9113-11216b420c44" providerId="ADAL" clId="{8A22DB22-CE08-4237-BAFA-661B83772496}" dt="2024-06-05T19:11:56.509" v="77"/>
          <ac:spMkLst>
            <pc:docMk/>
            <pc:sldMk cId="3194185217" sldId="5000"/>
            <ac:spMk id="289" creationId="{4221D947-470C-5A88-4D50-4833A5B70890}"/>
          </ac:spMkLst>
        </pc:spChg>
        <pc:spChg chg="mod">
          <ac:chgData name="Elgee, Jeffrey (SPAC/PSPC)" userId="e10f0e9c-c03f-4fde-9113-11216b420c44" providerId="ADAL" clId="{8A22DB22-CE08-4237-BAFA-661B83772496}" dt="2024-06-05T19:19:05.707" v="100" actId="207"/>
          <ac:spMkLst>
            <pc:docMk/>
            <pc:sldMk cId="3194185217" sldId="5000"/>
            <ac:spMk id="290" creationId="{3677BDF7-7497-A3AA-B43C-BDC81649F70B}"/>
          </ac:spMkLst>
        </pc:spChg>
        <pc:spChg chg="mod">
          <ac:chgData name="Elgee, Jeffrey (SPAC/PSPC)" userId="e10f0e9c-c03f-4fde-9113-11216b420c44" providerId="ADAL" clId="{8A22DB22-CE08-4237-BAFA-661B83772496}" dt="2024-06-05T19:19:09.708" v="101" actId="207"/>
          <ac:spMkLst>
            <pc:docMk/>
            <pc:sldMk cId="3194185217" sldId="5000"/>
            <ac:spMk id="291" creationId="{3720CD43-0D89-998D-0225-4FEC2C93EA5E}"/>
          </ac:spMkLst>
        </pc:spChg>
        <pc:spChg chg="mod">
          <ac:chgData name="Elgee, Jeffrey (SPAC/PSPC)" userId="e10f0e9c-c03f-4fde-9113-11216b420c44" providerId="ADAL" clId="{8A22DB22-CE08-4237-BAFA-661B83772496}" dt="2024-06-05T19:11:56.509" v="77"/>
          <ac:spMkLst>
            <pc:docMk/>
            <pc:sldMk cId="3194185217" sldId="5000"/>
            <ac:spMk id="292" creationId="{A4F493CE-E510-AF43-0BB4-F73F9E0E5863}"/>
          </ac:spMkLst>
        </pc:spChg>
        <pc:spChg chg="mod">
          <ac:chgData name="Elgee, Jeffrey (SPAC/PSPC)" userId="e10f0e9c-c03f-4fde-9113-11216b420c44" providerId="ADAL" clId="{8A22DB22-CE08-4237-BAFA-661B83772496}" dt="2024-06-05T19:14:13.989" v="93" actId="207"/>
          <ac:spMkLst>
            <pc:docMk/>
            <pc:sldMk cId="3194185217" sldId="5000"/>
            <ac:spMk id="293" creationId="{A036B082-257B-D590-20A8-A38E4C380989}"/>
          </ac:spMkLst>
        </pc:spChg>
        <pc:spChg chg="mod">
          <ac:chgData name="Elgee, Jeffrey (SPAC/PSPC)" userId="e10f0e9c-c03f-4fde-9113-11216b420c44" providerId="ADAL" clId="{8A22DB22-CE08-4237-BAFA-661B83772496}" dt="2024-06-05T19:19:13.052" v="102" actId="207"/>
          <ac:spMkLst>
            <pc:docMk/>
            <pc:sldMk cId="3194185217" sldId="5000"/>
            <ac:spMk id="294" creationId="{AD1B518F-B0B9-84B8-C30B-01BABACDC3D1}"/>
          </ac:spMkLst>
        </pc:spChg>
        <pc:spChg chg="mod">
          <ac:chgData name="Elgee, Jeffrey (SPAC/PSPC)" userId="e10f0e9c-c03f-4fde-9113-11216b420c44" providerId="ADAL" clId="{8A22DB22-CE08-4237-BAFA-661B83772496}" dt="2024-06-05T19:11:56.509" v="77"/>
          <ac:spMkLst>
            <pc:docMk/>
            <pc:sldMk cId="3194185217" sldId="5000"/>
            <ac:spMk id="295" creationId="{EB68446C-945A-6ADF-3CE9-D30D879C6230}"/>
          </ac:spMkLst>
        </pc:spChg>
        <pc:spChg chg="mod">
          <ac:chgData name="Elgee, Jeffrey (SPAC/PSPC)" userId="e10f0e9c-c03f-4fde-9113-11216b420c44" providerId="ADAL" clId="{8A22DB22-CE08-4237-BAFA-661B83772496}" dt="2024-06-05T19:11:56.509" v="77"/>
          <ac:spMkLst>
            <pc:docMk/>
            <pc:sldMk cId="3194185217" sldId="5000"/>
            <ac:spMk id="296" creationId="{2492619A-C3B3-556D-BB47-861CDACA10FB}"/>
          </ac:spMkLst>
        </pc:spChg>
        <pc:spChg chg="mod">
          <ac:chgData name="Elgee, Jeffrey (SPAC/PSPC)" userId="e10f0e9c-c03f-4fde-9113-11216b420c44" providerId="ADAL" clId="{8A22DB22-CE08-4237-BAFA-661B83772496}" dt="2024-06-05T20:38:58.325" v="104" actId="207"/>
          <ac:spMkLst>
            <pc:docMk/>
            <pc:sldMk cId="3194185217" sldId="5000"/>
            <ac:spMk id="297" creationId="{C30C9C55-3D44-2CD4-FCA1-D74BADC6B2E4}"/>
          </ac:spMkLst>
        </pc:spChg>
        <pc:spChg chg="mod">
          <ac:chgData name="Elgee, Jeffrey (SPAC/PSPC)" userId="e10f0e9c-c03f-4fde-9113-11216b420c44" providerId="ADAL" clId="{8A22DB22-CE08-4237-BAFA-661B83772496}" dt="2024-06-05T19:14:13.989" v="93" actId="207"/>
          <ac:spMkLst>
            <pc:docMk/>
            <pc:sldMk cId="3194185217" sldId="5000"/>
            <ac:spMk id="298" creationId="{49C95C00-4B7F-CA58-5AF2-082B42759803}"/>
          </ac:spMkLst>
        </pc:spChg>
        <pc:spChg chg="mod">
          <ac:chgData name="Elgee, Jeffrey (SPAC/PSPC)" userId="e10f0e9c-c03f-4fde-9113-11216b420c44" providerId="ADAL" clId="{8A22DB22-CE08-4237-BAFA-661B83772496}" dt="2024-06-05T19:11:56.509" v="77"/>
          <ac:spMkLst>
            <pc:docMk/>
            <pc:sldMk cId="3194185217" sldId="5000"/>
            <ac:spMk id="299" creationId="{DDA29F15-71FD-4003-42A2-886ED3F2FFDA}"/>
          </ac:spMkLst>
        </pc:spChg>
        <pc:spChg chg="mod">
          <ac:chgData name="Elgee, Jeffrey (SPAC/PSPC)" userId="e10f0e9c-c03f-4fde-9113-11216b420c44" providerId="ADAL" clId="{8A22DB22-CE08-4237-BAFA-661B83772496}" dt="2024-06-05T19:11:56.509" v="77"/>
          <ac:spMkLst>
            <pc:docMk/>
            <pc:sldMk cId="3194185217" sldId="5000"/>
            <ac:spMk id="300" creationId="{3B5E7367-27BE-841E-BFF6-2EE465A8DDB3}"/>
          </ac:spMkLst>
        </pc:spChg>
        <pc:spChg chg="mod">
          <ac:chgData name="Elgee, Jeffrey (SPAC/PSPC)" userId="e10f0e9c-c03f-4fde-9113-11216b420c44" providerId="ADAL" clId="{8A22DB22-CE08-4237-BAFA-661B83772496}" dt="2024-06-05T19:14:13.989" v="93" actId="207"/>
          <ac:spMkLst>
            <pc:docMk/>
            <pc:sldMk cId="3194185217" sldId="5000"/>
            <ac:spMk id="301" creationId="{54917BA4-35E9-EC20-1F6B-90754EFA42FF}"/>
          </ac:spMkLst>
        </pc:spChg>
        <pc:spChg chg="mod">
          <ac:chgData name="Elgee, Jeffrey (SPAC/PSPC)" userId="e10f0e9c-c03f-4fde-9113-11216b420c44" providerId="ADAL" clId="{8A22DB22-CE08-4237-BAFA-661B83772496}" dt="2024-06-05T19:14:13.989" v="93" actId="207"/>
          <ac:spMkLst>
            <pc:docMk/>
            <pc:sldMk cId="3194185217" sldId="5000"/>
            <ac:spMk id="302" creationId="{C3416265-BDEF-8331-B39A-01D86E0CB5C6}"/>
          </ac:spMkLst>
        </pc:spChg>
        <pc:spChg chg="mod">
          <ac:chgData name="Elgee, Jeffrey (SPAC/PSPC)" userId="e10f0e9c-c03f-4fde-9113-11216b420c44" providerId="ADAL" clId="{8A22DB22-CE08-4237-BAFA-661B83772496}" dt="2024-06-05T19:11:56.509" v="77"/>
          <ac:spMkLst>
            <pc:docMk/>
            <pc:sldMk cId="3194185217" sldId="5000"/>
            <ac:spMk id="303" creationId="{5C1649E8-3E17-F69A-9C9D-06491250E0B4}"/>
          </ac:spMkLst>
        </pc:spChg>
        <pc:spChg chg="mod">
          <ac:chgData name="Elgee, Jeffrey (SPAC/PSPC)" userId="e10f0e9c-c03f-4fde-9113-11216b420c44" providerId="ADAL" clId="{8A22DB22-CE08-4237-BAFA-661B83772496}" dt="2024-06-05T19:11:56.509" v="77"/>
          <ac:spMkLst>
            <pc:docMk/>
            <pc:sldMk cId="3194185217" sldId="5000"/>
            <ac:spMk id="304" creationId="{8FF39E85-EA61-3AF9-E36F-A2A41D7C536F}"/>
          </ac:spMkLst>
        </pc:spChg>
        <pc:spChg chg="mod">
          <ac:chgData name="Elgee, Jeffrey (SPAC/PSPC)" userId="e10f0e9c-c03f-4fde-9113-11216b420c44" providerId="ADAL" clId="{8A22DB22-CE08-4237-BAFA-661B83772496}" dt="2024-06-05T19:11:56.509" v="77"/>
          <ac:spMkLst>
            <pc:docMk/>
            <pc:sldMk cId="3194185217" sldId="5000"/>
            <ac:spMk id="305" creationId="{FEFE2669-FC11-1E25-1660-19113C3702FD}"/>
          </ac:spMkLst>
        </pc:spChg>
        <pc:spChg chg="mod">
          <ac:chgData name="Elgee, Jeffrey (SPAC/PSPC)" userId="e10f0e9c-c03f-4fde-9113-11216b420c44" providerId="ADAL" clId="{8A22DB22-CE08-4237-BAFA-661B83772496}" dt="2024-06-05T19:14:13.989" v="93" actId="207"/>
          <ac:spMkLst>
            <pc:docMk/>
            <pc:sldMk cId="3194185217" sldId="5000"/>
            <ac:spMk id="306" creationId="{7FC99DFE-CB17-B304-2692-3FD0448BAB43}"/>
          </ac:spMkLst>
        </pc:spChg>
        <pc:spChg chg="mod">
          <ac:chgData name="Elgee, Jeffrey (SPAC/PSPC)" userId="e10f0e9c-c03f-4fde-9113-11216b420c44" providerId="ADAL" clId="{8A22DB22-CE08-4237-BAFA-661B83772496}" dt="2024-06-05T19:11:56.509" v="77"/>
          <ac:spMkLst>
            <pc:docMk/>
            <pc:sldMk cId="3194185217" sldId="5000"/>
            <ac:spMk id="307" creationId="{0F034014-6239-3A54-2E9F-862927701543}"/>
          </ac:spMkLst>
        </pc:spChg>
        <pc:spChg chg="mod">
          <ac:chgData name="Elgee, Jeffrey (SPAC/PSPC)" userId="e10f0e9c-c03f-4fde-9113-11216b420c44" providerId="ADAL" clId="{8A22DB22-CE08-4237-BAFA-661B83772496}" dt="2024-06-05T20:38:54.573" v="103" actId="207"/>
          <ac:spMkLst>
            <pc:docMk/>
            <pc:sldMk cId="3194185217" sldId="5000"/>
            <ac:spMk id="308" creationId="{1D4B8F6B-145B-6B0E-22E7-C36922CADBED}"/>
          </ac:spMkLst>
        </pc:spChg>
        <pc:spChg chg="mod">
          <ac:chgData name="Elgee, Jeffrey (SPAC/PSPC)" userId="e10f0e9c-c03f-4fde-9113-11216b420c44" providerId="ADAL" clId="{8A22DB22-CE08-4237-BAFA-661B83772496}" dt="2024-06-05T19:11:56.509" v="77"/>
          <ac:spMkLst>
            <pc:docMk/>
            <pc:sldMk cId="3194185217" sldId="5000"/>
            <ac:spMk id="309" creationId="{8236CE7B-D61F-E26F-7401-452B27D8DC31}"/>
          </ac:spMkLst>
        </pc:spChg>
        <pc:spChg chg="mod">
          <ac:chgData name="Elgee, Jeffrey (SPAC/PSPC)" userId="e10f0e9c-c03f-4fde-9113-11216b420c44" providerId="ADAL" clId="{8A22DB22-CE08-4237-BAFA-661B83772496}" dt="2024-06-05T19:11:56.509" v="77"/>
          <ac:spMkLst>
            <pc:docMk/>
            <pc:sldMk cId="3194185217" sldId="5000"/>
            <ac:spMk id="310" creationId="{66D5FCE9-5B03-0A50-3AA2-ACC0414A949C}"/>
          </ac:spMkLst>
        </pc:spChg>
        <pc:spChg chg="add mod">
          <ac:chgData name="Elgee, Jeffrey (SPAC/PSPC)" userId="e10f0e9c-c03f-4fde-9113-11216b420c44" providerId="ADAL" clId="{8A22DB22-CE08-4237-BAFA-661B83772496}" dt="2024-06-06T14:17:41.608" v="714" actId="1076"/>
          <ac:spMkLst>
            <pc:docMk/>
            <pc:sldMk cId="3194185217" sldId="5000"/>
            <ac:spMk id="311" creationId="{7F17BAD9-B2D7-AE7A-CCDA-9D497073F97B}"/>
          </ac:spMkLst>
        </pc:spChg>
        <pc:spChg chg="add del mod ord">
          <ac:chgData name="Elgee, Jeffrey (SPAC/PSPC)" userId="e10f0e9c-c03f-4fde-9113-11216b420c44" providerId="ADAL" clId="{8A22DB22-CE08-4237-BAFA-661B83772496}" dt="2024-06-06T14:58:40.515" v="890" actId="478"/>
          <ac:spMkLst>
            <pc:docMk/>
            <pc:sldMk cId="3194185217" sldId="5000"/>
            <ac:spMk id="312" creationId="{069B07EA-B3CB-09DE-5233-1C1AE1F0B8F2}"/>
          </ac:spMkLst>
        </pc:spChg>
        <pc:spChg chg="add del mod ord">
          <ac:chgData name="Elgee, Jeffrey (SPAC/PSPC)" userId="e10f0e9c-c03f-4fde-9113-11216b420c44" providerId="ADAL" clId="{8A22DB22-CE08-4237-BAFA-661B83772496}" dt="2024-06-06T14:58:48.173" v="891" actId="478"/>
          <ac:spMkLst>
            <pc:docMk/>
            <pc:sldMk cId="3194185217" sldId="5000"/>
            <ac:spMk id="313" creationId="{E05D7B36-537E-B229-7E2A-64811EB0EE2C}"/>
          </ac:spMkLst>
        </pc:spChg>
        <pc:grpChg chg="mod">
          <ac:chgData name="Elgee, Jeffrey (SPAC/PSPC)" userId="e10f0e9c-c03f-4fde-9113-11216b420c44" providerId="ADAL" clId="{8A22DB22-CE08-4237-BAFA-661B83772496}" dt="2024-06-05T19:12:26.702" v="81" actId="1076"/>
          <ac:grpSpMkLst>
            <pc:docMk/>
            <pc:sldMk cId="3194185217" sldId="5000"/>
            <ac:grpSpMk id="3" creationId="{EAFCA7DA-B3A3-40D1-F2DD-88BF94C0FDEE}"/>
          </ac:grpSpMkLst>
        </pc:grpChg>
        <pc:grpChg chg="mod">
          <ac:chgData name="Elgee, Jeffrey (SPAC/PSPC)" userId="e10f0e9c-c03f-4fde-9113-11216b420c44" providerId="ADAL" clId="{8A22DB22-CE08-4237-BAFA-661B83772496}" dt="2024-06-05T18:33:18.979" v="25" actId="571"/>
          <ac:grpSpMkLst>
            <pc:docMk/>
            <pc:sldMk cId="3194185217" sldId="5000"/>
            <ac:grpSpMk id="6" creationId="{0DE56BB4-308D-A654-219C-A500E6723FB2}"/>
          </ac:grpSpMkLst>
        </pc:grpChg>
        <pc:grpChg chg="del">
          <ac:chgData name="Elgee, Jeffrey (SPAC/PSPC)" userId="e10f0e9c-c03f-4fde-9113-11216b420c44" providerId="ADAL" clId="{8A22DB22-CE08-4237-BAFA-661B83772496}" dt="2024-06-05T18:31:10.735" v="5" actId="478"/>
          <ac:grpSpMkLst>
            <pc:docMk/>
            <pc:sldMk cId="3194185217" sldId="5000"/>
            <ac:grpSpMk id="7" creationId="{3CE29C31-5266-A23D-B16D-8E36CF33D450}"/>
          </ac:grpSpMkLst>
        </pc:grpChg>
        <pc:grpChg chg="del">
          <ac:chgData name="Elgee, Jeffrey (SPAC/PSPC)" userId="e10f0e9c-c03f-4fde-9113-11216b420c44" providerId="ADAL" clId="{8A22DB22-CE08-4237-BAFA-661B83772496}" dt="2024-06-05T18:31:25.132" v="7" actId="478"/>
          <ac:grpSpMkLst>
            <pc:docMk/>
            <pc:sldMk cId="3194185217" sldId="5000"/>
            <ac:grpSpMk id="10" creationId="{3D5CB0FE-E0FC-FBD6-513D-6DFA83E357B9}"/>
          </ac:grpSpMkLst>
        </pc:grpChg>
        <pc:grpChg chg="mod">
          <ac:chgData name="Elgee, Jeffrey (SPAC/PSPC)" userId="e10f0e9c-c03f-4fde-9113-11216b420c44" providerId="ADAL" clId="{8A22DB22-CE08-4237-BAFA-661B83772496}" dt="2024-06-05T18:33:18.979" v="25" actId="571"/>
          <ac:grpSpMkLst>
            <pc:docMk/>
            <pc:sldMk cId="3194185217" sldId="5000"/>
            <ac:grpSpMk id="13" creationId="{F749FBA4-6C9D-0CDF-7180-93E2D3A08598}"/>
          </ac:grpSpMkLst>
        </pc:grpChg>
        <pc:grpChg chg="del">
          <ac:chgData name="Elgee, Jeffrey (SPAC/PSPC)" userId="e10f0e9c-c03f-4fde-9113-11216b420c44" providerId="ADAL" clId="{8A22DB22-CE08-4237-BAFA-661B83772496}" dt="2024-06-05T18:30:47.411" v="1" actId="478"/>
          <ac:grpSpMkLst>
            <pc:docMk/>
            <pc:sldMk cId="3194185217" sldId="5000"/>
            <ac:grpSpMk id="16" creationId="{AF651BEA-62A1-A2B8-AAC2-489C44D92640}"/>
          </ac:grpSpMkLst>
        </pc:grpChg>
        <pc:grpChg chg="mod">
          <ac:chgData name="Elgee, Jeffrey (SPAC/PSPC)" userId="e10f0e9c-c03f-4fde-9113-11216b420c44" providerId="ADAL" clId="{8A22DB22-CE08-4237-BAFA-661B83772496}" dt="2024-06-05T18:33:18.979" v="25" actId="571"/>
          <ac:grpSpMkLst>
            <pc:docMk/>
            <pc:sldMk cId="3194185217" sldId="5000"/>
            <ac:grpSpMk id="60" creationId="{82FE7FD9-8BD5-08EF-9E22-AFEFFCC4C5B5}"/>
          </ac:grpSpMkLst>
        </pc:grpChg>
        <pc:grpChg chg="mod">
          <ac:chgData name="Elgee, Jeffrey (SPAC/PSPC)" userId="e10f0e9c-c03f-4fde-9113-11216b420c44" providerId="ADAL" clId="{8A22DB22-CE08-4237-BAFA-661B83772496}" dt="2024-06-05T18:33:18.979" v="25" actId="571"/>
          <ac:grpSpMkLst>
            <pc:docMk/>
            <pc:sldMk cId="3194185217" sldId="5000"/>
            <ac:grpSpMk id="63" creationId="{1F253533-8F61-A98F-A047-62E035D20E2F}"/>
          </ac:grpSpMkLst>
        </pc:grpChg>
        <pc:grpChg chg="mod">
          <ac:chgData name="Elgee, Jeffrey (SPAC/PSPC)" userId="e10f0e9c-c03f-4fde-9113-11216b420c44" providerId="ADAL" clId="{8A22DB22-CE08-4237-BAFA-661B83772496}" dt="2024-06-05T18:33:18.979" v="25" actId="571"/>
          <ac:grpSpMkLst>
            <pc:docMk/>
            <pc:sldMk cId="3194185217" sldId="5000"/>
            <ac:grpSpMk id="66" creationId="{B5065F49-4327-3E58-27D6-B67BE6060D1F}"/>
          </ac:grpSpMkLst>
        </pc:grpChg>
        <pc:grpChg chg="del">
          <ac:chgData name="Elgee, Jeffrey (SPAC/PSPC)" userId="e10f0e9c-c03f-4fde-9113-11216b420c44" providerId="ADAL" clId="{8A22DB22-CE08-4237-BAFA-661B83772496}" dt="2024-06-05T19:12:03.781" v="79" actId="478"/>
          <ac:grpSpMkLst>
            <pc:docMk/>
            <pc:sldMk cId="3194185217" sldId="5000"/>
            <ac:grpSpMk id="110" creationId="{1CB9BAB3-39DC-FD22-E6E1-937E3162FB5C}"/>
          </ac:grpSpMkLst>
        </pc:grpChg>
        <pc:grpChg chg="add mod">
          <ac:chgData name="Elgee, Jeffrey (SPAC/PSPC)" userId="e10f0e9c-c03f-4fde-9113-11216b420c44" providerId="ADAL" clId="{8A22DB22-CE08-4237-BAFA-661B83772496}" dt="2024-06-05T19:12:32.102" v="82" actId="1076"/>
          <ac:grpSpMkLst>
            <pc:docMk/>
            <pc:sldMk cId="3194185217" sldId="5000"/>
            <ac:grpSpMk id="227" creationId="{CD4E07AF-5600-82A3-E8AC-221858721018}"/>
          </ac:grpSpMkLst>
        </pc:grpChg>
        <pc:grpChg chg="mod">
          <ac:chgData name="Elgee, Jeffrey (SPAC/PSPC)" userId="e10f0e9c-c03f-4fde-9113-11216b420c44" providerId="ADAL" clId="{8A22DB22-CE08-4237-BAFA-661B83772496}" dt="2024-06-05T19:11:56.509" v="77"/>
          <ac:grpSpMkLst>
            <pc:docMk/>
            <pc:sldMk cId="3194185217" sldId="5000"/>
            <ac:grpSpMk id="229" creationId="{55ED023E-A6E0-9EC6-D06E-3F984796C7DA}"/>
          </ac:grpSpMkLst>
        </pc:grpChg>
        <pc:grpChg chg="mod">
          <ac:chgData name="Elgee, Jeffrey (SPAC/PSPC)" userId="e10f0e9c-c03f-4fde-9113-11216b420c44" providerId="ADAL" clId="{8A22DB22-CE08-4237-BAFA-661B83772496}" dt="2024-06-05T19:11:56.509" v="77"/>
          <ac:grpSpMkLst>
            <pc:docMk/>
            <pc:sldMk cId="3194185217" sldId="5000"/>
            <ac:grpSpMk id="230" creationId="{1C4847AD-FE06-E551-7752-60670ECFA86A}"/>
          </ac:grpSpMkLst>
        </pc:grpChg>
        <pc:grpChg chg="mod">
          <ac:chgData name="Elgee, Jeffrey (SPAC/PSPC)" userId="e10f0e9c-c03f-4fde-9113-11216b420c44" providerId="ADAL" clId="{8A22DB22-CE08-4237-BAFA-661B83772496}" dt="2024-06-05T19:11:56.509" v="77"/>
          <ac:grpSpMkLst>
            <pc:docMk/>
            <pc:sldMk cId="3194185217" sldId="5000"/>
            <ac:grpSpMk id="261" creationId="{84687D3C-FA6B-460B-01F4-4DAD9CC781A5}"/>
          </ac:grpSpMkLst>
        </pc:grpChg>
        <pc:grpChg chg="mod">
          <ac:chgData name="Elgee, Jeffrey (SPAC/PSPC)" userId="e10f0e9c-c03f-4fde-9113-11216b420c44" providerId="ADAL" clId="{8A22DB22-CE08-4237-BAFA-661B83772496}" dt="2024-06-05T19:11:56.509" v="77"/>
          <ac:grpSpMkLst>
            <pc:docMk/>
            <pc:sldMk cId="3194185217" sldId="5000"/>
            <ac:grpSpMk id="264" creationId="{C43026BC-7468-7C75-B9A5-92293150B486}"/>
          </ac:grpSpMkLst>
        </pc:grpChg>
        <pc:grpChg chg="mod">
          <ac:chgData name="Elgee, Jeffrey (SPAC/PSPC)" userId="e10f0e9c-c03f-4fde-9113-11216b420c44" providerId="ADAL" clId="{8A22DB22-CE08-4237-BAFA-661B83772496}" dt="2024-06-05T19:11:56.509" v="77"/>
          <ac:grpSpMkLst>
            <pc:docMk/>
            <pc:sldMk cId="3194185217" sldId="5000"/>
            <ac:grpSpMk id="267" creationId="{E4D23994-3511-2B97-4899-ED589D1D8E98}"/>
          </ac:grpSpMkLst>
        </pc:grpChg>
        <pc:picChg chg="del">
          <ac:chgData name="Elgee, Jeffrey (SPAC/PSPC)" userId="e10f0e9c-c03f-4fde-9113-11216b420c44" providerId="ADAL" clId="{8A22DB22-CE08-4237-BAFA-661B83772496}" dt="2024-06-05T18:31:35.243" v="9" actId="478"/>
          <ac:picMkLst>
            <pc:docMk/>
            <pc:sldMk cId="3194185217" sldId="5000"/>
            <ac:picMk id="9" creationId="{9F8A92B7-6443-26F8-64F5-FA19B8FA9AF0}"/>
          </ac:picMkLst>
        </pc:picChg>
        <pc:picChg chg="del">
          <ac:chgData name="Elgee, Jeffrey (SPAC/PSPC)" userId="e10f0e9c-c03f-4fde-9113-11216b420c44" providerId="ADAL" clId="{8A22DB22-CE08-4237-BAFA-661B83772496}" dt="2024-06-05T18:31:10.735" v="5" actId="478"/>
          <ac:picMkLst>
            <pc:docMk/>
            <pc:sldMk cId="3194185217" sldId="5000"/>
            <ac:picMk id="11" creationId="{643117AF-11BB-4D82-F9B1-D3525CF74A00}"/>
          </ac:picMkLst>
        </pc:picChg>
        <pc:picChg chg="mod">
          <ac:chgData name="Elgee, Jeffrey (SPAC/PSPC)" userId="e10f0e9c-c03f-4fde-9113-11216b420c44" providerId="ADAL" clId="{8A22DB22-CE08-4237-BAFA-661B83772496}" dt="2024-06-05T18:33:18.979" v="25" actId="571"/>
          <ac:picMkLst>
            <pc:docMk/>
            <pc:sldMk cId="3194185217" sldId="5000"/>
            <ac:picMk id="61" creationId="{32F0EB88-3179-2E20-D0A5-98588731AA8B}"/>
          </ac:picMkLst>
        </pc:picChg>
        <pc:picChg chg="mod">
          <ac:chgData name="Elgee, Jeffrey (SPAC/PSPC)" userId="e10f0e9c-c03f-4fde-9113-11216b420c44" providerId="ADAL" clId="{8A22DB22-CE08-4237-BAFA-661B83772496}" dt="2024-06-05T19:11:56.509" v="77"/>
          <ac:picMkLst>
            <pc:docMk/>
            <pc:sldMk cId="3194185217" sldId="5000"/>
            <ac:picMk id="262" creationId="{A27F34E5-B66C-61A7-94D0-C691541E6BFF}"/>
          </ac:picMkLst>
        </pc:picChg>
        <pc:extLst>
          <p:ext xmlns:p="http://schemas.openxmlformats.org/presentationml/2006/main" uri="{D6D511B9-2390-475A-947B-AFAB55BFBCF1}">
            <pc226:cmChg xmlns:pc226="http://schemas.microsoft.com/office/powerpoint/2022/06/main/command" chg="">
              <pc226:chgData name="Elgee, Jeffrey (SPAC/PSPC)" userId="e10f0e9c-c03f-4fde-9113-11216b420c44" providerId="ADAL" clId="{8A22DB22-CE08-4237-BAFA-661B83772496}" dt="2024-06-11T14:21:12.428" v="3172"/>
              <pc2:cmMkLst xmlns:pc2="http://schemas.microsoft.com/office/powerpoint/2019/9/main/command">
                <pc:docMk/>
                <pc:sldMk cId="3194185217" sldId="5000"/>
                <pc2:cmMk id="{D8AF41D7-EAFF-41AE-AAA6-A98B0A870B29}"/>
              </pc2:cmMkLst>
              <pc226:cmRplyChg chg="add">
                <pc226:chgData name="Elgee, Jeffrey (SPAC/PSPC)" userId="e10f0e9c-c03f-4fde-9113-11216b420c44" providerId="ADAL" clId="{8A22DB22-CE08-4237-BAFA-661B83772496}" dt="2024-06-11T14:21:12.428" v="3172"/>
                <pc2:cmRplyMkLst xmlns:pc2="http://schemas.microsoft.com/office/powerpoint/2019/9/main/command">
                  <pc:docMk/>
                  <pc:sldMk cId="3194185217" sldId="5000"/>
                  <pc2:cmMk id="{D8AF41D7-EAFF-41AE-AAA6-A98B0A870B29}"/>
                  <pc2:cmRplyMk id="{1765C995-E2BA-40BE-A0E4-0984C3C45630}"/>
                </pc2:cmRplyMkLst>
              </pc226:cmRplyChg>
            </pc226:cmChg>
          </p:ext>
        </pc:extLst>
      </pc:sldChg>
      <pc:sldChg chg="del">
        <pc:chgData name="Elgee, Jeffrey (SPAC/PSPC)" userId="e10f0e9c-c03f-4fde-9113-11216b420c44" providerId="ADAL" clId="{8A22DB22-CE08-4237-BAFA-661B83772496}" dt="2024-06-05T20:54:58.546" v="283" actId="2696"/>
        <pc:sldMkLst>
          <pc:docMk/>
          <pc:sldMk cId="518497710" sldId="5001"/>
        </pc:sldMkLst>
      </pc:sldChg>
      <pc:sldChg chg="addSp delSp modSp add mod modClrScheme addCm chgLayout modNotesTx">
        <pc:chgData name="Elgee, Jeffrey (SPAC/PSPC)" userId="e10f0e9c-c03f-4fde-9113-11216b420c44" providerId="ADAL" clId="{8A22DB22-CE08-4237-BAFA-661B83772496}" dt="2024-06-12T13:41:45.679" v="3214"/>
        <pc:sldMkLst>
          <pc:docMk/>
          <pc:sldMk cId="1651678227" sldId="5001"/>
        </pc:sldMkLst>
        <pc:spChg chg="mod ord">
          <ac:chgData name="Elgee, Jeffrey (SPAC/PSPC)" userId="e10f0e9c-c03f-4fde-9113-11216b420c44" providerId="ADAL" clId="{8A22DB22-CE08-4237-BAFA-661B83772496}" dt="2024-06-06T14:56:21.771" v="877" actId="700"/>
          <ac:spMkLst>
            <pc:docMk/>
            <pc:sldMk cId="1651678227" sldId="5001"/>
            <ac:spMk id="2" creationId="{A08B4284-4C03-05F5-D379-8D8D6E310467}"/>
          </ac:spMkLst>
        </pc:spChg>
        <pc:spChg chg="add del mod ord">
          <ac:chgData name="Elgee, Jeffrey (SPAC/PSPC)" userId="e10f0e9c-c03f-4fde-9113-11216b420c44" providerId="ADAL" clId="{8A22DB22-CE08-4237-BAFA-661B83772496}" dt="2024-06-06T14:56:30.775" v="878" actId="478"/>
          <ac:spMkLst>
            <pc:docMk/>
            <pc:sldMk cId="1651678227" sldId="5001"/>
            <ac:spMk id="49" creationId="{57F10F23-E045-096C-B42C-4B6551449D8A}"/>
          </ac:spMkLst>
        </pc:spChg>
        <pc:spChg chg="add del mod ord">
          <ac:chgData name="Elgee, Jeffrey (SPAC/PSPC)" userId="e10f0e9c-c03f-4fde-9113-11216b420c44" providerId="ADAL" clId="{8A22DB22-CE08-4237-BAFA-661B83772496}" dt="2024-06-06T14:56:34.348" v="879" actId="478"/>
          <ac:spMkLst>
            <pc:docMk/>
            <pc:sldMk cId="1651678227" sldId="5001"/>
            <ac:spMk id="50" creationId="{89E7363A-F325-61A3-08B1-ACDBE8B7B8D9}"/>
          </ac:spMkLst>
        </pc:sp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1:45.679" v="3214"/>
              <pc2:cmMkLst xmlns:pc2="http://schemas.microsoft.com/office/powerpoint/2019/9/main/command">
                <pc:docMk/>
                <pc:sldMk cId="1651678227" sldId="5001"/>
                <pc2:cmMk id="{19123664-81CC-4E3E-914B-A37638716EF6}"/>
              </pc2:cmMkLst>
            </pc226:cmChg>
          </p:ext>
        </pc:extLst>
      </pc:sldChg>
      <pc:sldChg chg="del">
        <pc:chgData name="Elgee, Jeffrey (SPAC/PSPC)" userId="e10f0e9c-c03f-4fde-9113-11216b420c44" providerId="ADAL" clId="{8A22DB22-CE08-4237-BAFA-661B83772496}" dt="2024-06-07T18:41:21.536" v="1785" actId="47"/>
        <pc:sldMkLst>
          <pc:docMk/>
          <pc:sldMk cId="677863844" sldId="5002"/>
        </pc:sldMkLst>
      </pc:sldChg>
      <pc:sldChg chg="mod modShow">
        <pc:chgData name="Elgee, Jeffrey (SPAC/PSPC)" userId="e10f0e9c-c03f-4fde-9113-11216b420c44" providerId="ADAL" clId="{8A22DB22-CE08-4237-BAFA-661B83772496}" dt="2024-06-06T15:02:23.480" v="897" actId="729"/>
        <pc:sldMkLst>
          <pc:docMk/>
          <pc:sldMk cId="1903397118" sldId="5004"/>
        </pc:sldMkLst>
      </pc:sldChg>
      <pc:sldChg chg="mod modShow">
        <pc:chgData name="Elgee, Jeffrey (SPAC/PSPC)" userId="e10f0e9c-c03f-4fde-9113-11216b420c44" providerId="ADAL" clId="{8A22DB22-CE08-4237-BAFA-661B83772496}" dt="2024-06-06T15:02:23.480" v="897" actId="729"/>
        <pc:sldMkLst>
          <pc:docMk/>
          <pc:sldMk cId="3820944322" sldId="5005"/>
        </pc:sldMkLst>
      </pc:sldChg>
      <pc:sldChg chg="addSp delSp modSp new mod modClrScheme chgLayout modNotesTx">
        <pc:chgData name="Elgee, Jeffrey (SPAC/PSPC)" userId="e10f0e9c-c03f-4fde-9113-11216b420c44" providerId="ADAL" clId="{8A22DB22-CE08-4237-BAFA-661B83772496}" dt="2024-06-06T15:02:48.185" v="905" actId="20577"/>
        <pc:sldMkLst>
          <pc:docMk/>
          <pc:sldMk cId="1601877447" sldId="5006"/>
        </pc:sldMkLst>
        <pc:spChg chg="mod ord">
          <ac:chgData name="Elgee, Jeffrey (SPAC/PSPC)" userId="e10f0e9c-c03f-4fde-9113-11216b420c44" providerId="ADAL" clId="{8A22DB22-CE08-4237-BAFA-661B83772496}" dt="2024-06-06T14:34:31.959" v="874" actId="700"/>
          <ac:spMkLst>
            <pc:docMk/>
            <pc:sldMk cId="1601877447" sldId="5006"/>
            <ac:spMk id="2" creationId="{275AA91C-99CC-46FC-75BD-EEEF7FC9C76D}"/>
          </ac:spMkLst>
        </pc:spChg>
        <pc:spChg chg="add mod">
          <ac:chgData name="Elgee, Jeffrey (SPAC/PSPC)" userId="e10f0e9c-c03f-4fde-9113-11216b420c44" providerId="ADAL" clId="{8A22DB22-CE08-4237-BAFA-661B83772496}" dt="2024-06-06T15:02:48.185" v="905" actId="20577"/>
          <ac:spMkLst>
            <pc:docMk/>
            <pc:sldMk cId="1601877447" sldId="5006"/>
            <ac:spMk id="3" creationId="{47E30C84-4D17-AF02-DA40-A81607D74A4F}"/>
          </ac:spMkLst>
        </pc:spChg>
        <pc:spChg chg="add del mod ord">
          <ac:chgData name="Elgee, Jeffrey (SPAC/PSPC)" userId="e10f0e9c-c03f-4fde-9113-11216b420c44" providerId="ADAL" clId="{8A22DB22-CE08-4237-BAFA-661B83772496}" dt="2024-06-06T14:34:37.240" v="875" actId="478"/>
          <ac:spMkLst>
            <pc:docMk/>
            <pc:sldMk cId="1601877447" sldId="5006"/>
            <ac:spMk id="4" creationId="{DECB0C92-F9DB-23DE-8725-F98CC4756648}"/>
          </ac:spMkLst>
        </pc:spChg>
        <pc:spChg chg="add del mod ord">
          <ac:chgData name="Elgee, Jeffrey (SPAC/PSPC)" userId="e10f0e9c-c03f-4fde-9113-11216b420c44" providerId="ADAL" clId="{8A22DB22-CE08-4237-BAFA-661B83772496}" dt="2024-06-06T14:34:40.703" v="876" actId="478"/>
          <ac:spMkLst>
            <pc:docMk/>
            <pc:sldMk cId="1601877447" sldId="5006"/>
            <ac:spMk id="5" creationId="{E84C7FE5-FC66-B454-77C6-8A345AB41612}"/>
          </ac:spMkLst>
        </pc:spChg>
      </pc:sldChg>
      <pc:sldChg chg="addSp delSp new del mod">
        <pc:chgData name="Elgee, Jeffrey (SPAC/PSPC)" userId="e10f0e9c-c03f-4fde-9113-11216b420c44" providerId="ADAL" clId="{8A22DB22-CE08-4237-BAFA-661B83772496}" dt="2024-06-06T18:53:57.775" v="1410" actId="47"/>
        <pc:sldMkLst>
          <pc:docMk/>
          <pc:sldMk cId="3350132999" sldId="5007"/>
        </pc:sldMkLst>
        <pc:spChg chg="add del">
          <ac:chgData name="Elgee, Jeffrey (SPAC/PSPC)" userId="e10f0e9c-c03f-4fde-9113-11216b420c44" providerId="ADAL" clId="{8A22DB22-CE08-4237-BAFA-661B83772496}" dt="2024-06-06T17:45:31.314" v="909" actId="478"/>
          <ac:spMkLst>
            <pc:docMk/>
            <pc:sldMk cId="3350132999" sldId="5007"/>
            <ac:spMk id="7" creationId="{DB0E6EF0-01F5-DD71-C15D-7F364AEF76E8}"/>
          </ac:spMkLst>
        </pc:spChg>
        <pc:inkChg chg="add del">
          <ac:chgData name="Elgee, Jeffrey (SPAC/PSPC)" userId="e10f0e9c-c03f-4fde-9113-11216b420c44" providerId="ADAL" clId="{8A22DB22-CE08-4237-BAFA-661B83772496}" dt="2024-06-06T17:46:49.501" v="911" actId="9405"/>
          <ac:inkMkLst>
            <pc:docMk/>
            <pc:sldMk cId="3350132999" sldId="5007"/>
            <ac:inkMk id="8" creationId="{13155F75-F614-654B-E9D7-BBC213044CCE}"/>
          </ac:inkMkLst>
        </pc:inkChg>
        <pc:inkChg chg="add">
          <ac:chgData name="Elgee, Jeffrey (SPAC/PSPC)" userId="e10f0e9c-c03f-4fde-9113-11216b420c44" providerId="ADAL" clId="{8A22DB22-CE08-4237-BAFA-661B83772496}" dt="2024-06-06T17:59:48.951" v="912" actId="9405"/>
          <ac:inkMkLst>
            <pc:docMk/>
            <pc:sldMk cId="3350132999" sldId="5007"/>
            <ac:inkMk id="9" creationId="{62FAE120-9E58-FDFD-2932-18D87397120A}"/>
          </ac:inkMkLst>
        </pc:inkChg>
      </pc:sldChg>
      <pc:sldChg chg="new del">
        <pc:chgData name="Elgee, Jeffrey (SPAC/PSPC)" userId="e10f0e9c-c03f-4fde-9113-11216b420c44" providerId="ADAL" clId="{8A22DB22-CE08-4237-BAFA-661B83772496}" dt="2024-06-06T18:53:27.402" v="1409" actId="47"/>
        <pc:sldMkLst>
          <pc:docMk/>
          <pc:sldMk cId="2392695287" sldId="5008"/>
        </pc:sldMkLst>
      </pc:sldChg>
      <pc:sldChg chg="addSp modSp add mod modNotesTx">
        <pc:chgData name="Elgee, Jeffrey (SPAC/PSPC)" userId="e10f0e9c-c03f-4fde-9113-11216b420c44" providerId="ADAL" clId="{8A22DB22-CE08-4237-BAFA-661B83772496}" dt="2024-06-10T20:05:51.877" v="2550" actId="20577"/>
        <pc:sldMkLst>
          <pc:docMk/>
          <pc:sldMk cId="257696756" sldId="5009"/>
        </pc:sldMkLst>
        <pc:spChg chg="add mod">
          <ac:chgData name="Elgee, Jeffrey (SPAC/PSPC)" userId="e10f0e9c-c03f-4fde-9113-11216b420c44" providerId="ADAL" clId="{8A22DB22-CE08-4237-BAFA-661B83772496}" dt="2024-06-06T18:35:15.458" v="1395" actId="20577"/>
          <ac:spMkLst>
            <pc:docMk/>
            <pc:sldMk cId="257696756" sldId="5009"/>
            <ac:spMk id="2" creationId="{D960D336-DD27-5679-AECF-6C13D8155F68}"/>
          </ac:spMkLst>
        </pc:spChg>
        <pc:spChg chg="mod">
          <ac:chgData name="Elgee, Jeffrey (SPAC/PSPC)" userId="e10f0e9c-c03f-4fde-9113-11216b420c44" providerId="ADAL" clId="{8A22DB22-CE08-4237-BAFA-661B83772496}" dt="2024-06-06T18:29:35.148" v="1311" actId="207"/>
          <ac:spMkLst>
            <pc:docMk/>
            <pc:sldMk cId="257696756" sldId="5009"/>
            <ac:spMk id="10" creationId="{3D47C0AB-1ACB-3694-CE31-D36104FDCD68}"/>
          </ac:spMkLst>
        </pc:spChg>
        <pc:spChg chg="mod">
          <ac:chgData name="Elgee, Jeffrey (SPAC/PSPC)" userId="e10f0e9c-c03f-4fde-9113-11216b420c44" providerId="ADAL" clId="{8A22DB22-CE08-4237-BAFA-661B83772496}" dt="2024-06-06T18:29:46.188" v="1313" actId="208"/>
          <ac:spMkLst>
            <pc:docMk/>
            <pc:sldMk cId="257696756" sldId="5009"/>
            <ac:spMk id="40" creationId="{82E706F3-FA6A-1345-B840-7541D93DEE0B}"/>
          </ac:spMkLst>
        </pc:spChg>
        <pc:spChg chg="mod">
          <ac:chgData name="Elgee, Jeffrey (SPAC/PSPC)" userId="e10f0e9c-c03f-4fde-9113-11216b420c44" providerId="ADAL" clId="{8A22DB22-CE08-4237-BAFA-661B83772496}" dt="2024-06-06T18:30:46.350" v="1320" actId="207"/>
          <ac:spMkLst>
            <pc:docMk/>
            <pc:sldMk cId="257696756" sldId="5009"/>
            <ac:spMk id="51" creationId="{A42873D4-5793-384D-9BE3-818F527827B0}"/>
          </ac:spMkLst>
        </pc:spChg>
        <pc:spChg chg="mod">
          <ac:chgData name="Elgee, Jeffrey (SPAC/PSPC)" userId="e10f0e9c-c03f-4fde-9113-11216b420c44" providerId="ADAL" clId="{8A22DB22-CE08-4237-BAFA-661B83772496}" dt="2024-06-06T18:30:32.135" v="1319" actId="207"/>
          <ac:spMkLst>
            <pc:docMk/>
            <pc:sldMk cId="257696756" sldId="5009"/>
            <ac:spMk id="52" creationId="{E504786C-20B8-044D-B38E-955BC8F44CEA}"/>
          </ac:spMkLst>
        </pc:spChg>
        <pc:spChg chg="mod">
          <ac:chgData name="Elgee, Jeffrey (SPAC/PSPC)" userId="e10f0e9c-c03f-4fde-9113-11216b420c44" providerId="ADAL" clId="{8A22DB22-CE08-4237-BAFA-661B83772496}" dt="2024-06-06T18:29:57.856" v="1315" actId="207"/>
          <ac:spMkLst>
            <pc:docMk/>
            <pc:sldMk cId="257696756" sldId="5009"/>
            <ac:spMk id="54" creationId="{5490FC9F-889D-A044-9A24-51CB6BB0725C}"/>
          </ac:spMkLst>
        </pc:spChg>
        <pc:spChg chg="mod">
          <ac:chgData name="Elgee, Jeffrey (SPAC/PSPC)" userId="e10f0e9c-c03f-4fde-9113-11216b420c44" providerId="ADAL" clId="{8A22DB22-CE08-4237-BAFA-661B83772496}" dt="2024-06-06T18:29:53.513" v="1314" actId="207"/>
          <ac:spMkLst>
            <pc:docMk/>
            <pc:sldMk cId="257696756" sldId="5009"/>
            <ac:spMk id="55" creationId="{C65A198B-1883-1A4B-A8B4-DD725DC9EB17}"/>
          </ac:spMkLst>
        </pc:spChg>
        <pc:spChg chg="mod">
          <ac:chgData name="Elgee, Jeffrey (SPAC/PSPC)" userId="e10f0e9c-c03f-4fde-9113-11216b420c44" providerId="ADAL" clId="{8A22DB22-CE08-4237-BAFA-661B83772496}" dt="2024-06-06T18:30:02.450" v="1316" actId="207"/>
          <ac:spMkLst>
            <pc:docMk/>
            <pc:sldMk cId="257696756" sldId="5009"/>
            <ac:spMk id="56" creationId="{432E7640-9E73-0D40-A6F4-AC27C1BD258B}"/>
          </ac:spMkLst>
        </pc:spChg>
        <pc:spChg chg="mod">
          <ac:chgData name="Elgee, Jeffrey (SPAC/PSPC)" userId="e10f0e9c-c03f-4fde-9113-11216b420c44" providerId="ADAL" clId="{8A22DB22-CE08-4237-BAFA-661B83772496}" dt="2024-06-06T18:29:26.261" v="1310" actId="207"/>
          <ac:spMkLst>
            <pc:docMk/>
            <pc:sldMk cId="257696756" sldId="5009"/>
            <ac:spMk id="57" creationId="{9A6652DC-5AC2-7644-AD89-4F3E30042289}"/>
          </ac:spMkLst>
        </pc:spChg>
        <pc:spChg chg="mod">
          <ac:chgData name="Elgee, Jeffrey (SPAC/PSPC)" userId="e10f0e9c-c03f-4fde-9113-11216b420c44" providerId="ADAL" clId="{8A22DB22-CE08-4237-BAFA-661B83772496}" dt="2024-06-06T18:29:41.751" v="1312" actId="207"/>
          <ac:spMkLst>
            <pc:docMk/>
            <pc:sldMk cId="257696756" sldId="5009"/>
            <ac:spMk id="59" creationId="{F1F230E2-1267-6E4F-8031-0EC3BDB25111}"/>
          </ac:spMkLst>
        </pc:spChg>
        <pc:cxnChg chg="mod">
          <ac:chgData name="Elgee, Jeffrey (SPAC/PSPC)" userId="e10f0e9c-c03f-4fde-9113-11216b420c44" providerId="ADAL" clId="{8A22DB22-CE08-4237-BAFA-661B83772496}" dt="2024-06-06T18:27:51.510" v="1299" actId="208"/>
          <ac:cxnSpMkLst>
            <pc:docMk/>
            <pc:sldMk cId="257696756" sldId="5009"/>
            <ac:cxnSpMk id="13" creationId="{017A6896-7915-1C45-D73B-9C4D43C019AD}"/>
          </ac:cxnSpMkLst>
        </pc:cxnChg>
        <pc:cxnChg chg="mod">
          <ac:chgData name="Elgee, Jeffrey (SPAC/PSPC)" userId="e10f0e9c-c03f-4fde-9113-11216b420c44" providerId="ADAL" clId="{8A22DB22-CE08-4237-BAFA-661B83772496}" dt="2024-06-06T18:30:15.183" v="1318" actId="208"/>
          <ac:cxnSpMkLst>
            <pc:docMk/>
            <pc:sldMk cId="257696756" sldId="5009"/>
            <ac:cxnSpMk id="45" creationId="{136D3FD2-6787-4A4F-91CE-8770E54F376B}"/>
          </ac:cxnSpMkLst>
        </pc:cxnChg>
        <pc:cxnChg chg="mod">
          <ac:chgData name="Elgee, Jeffrey (SPAC/PSPC)" userId="e10f0e9c-c03f-4fde-9113-11216b420c44" providerId="ADAL" clId="{8A22DB22-CE08-4237-BAFA-661B83772496}" dt="2024-06-06T18:30:10.071" v="1317" actId="208"/>
          <ac:cxnSpMkLst>
            <pc:docMk/>
            <pc:sldMk cId="257696756" sldId="5009"/>
            <ac:cxnSpMk id="48" creationId="{349CE16F-30BD-634E-AC0B-DF9FE158DBDD}"/>
          </ac:cxnSpMkLst>
        </pc:cxnChg>
      </pc:sldChg>
      <pc:sldChg chg="addSp delSp modSp new mod">
        <pc:chgData name="Elgee, Jeffrey (SPAC/PSPC)" userId="e10f0e9c-c03f-4fde-9113-11216b420c44" providerId="ADAL" clId="{8A22DB22-CE08-4237-BAFA-661B83772496}" dt="2024-06-06T20:02:16.839" v="1686"/>
        <pc:sldMkLst>
          <pc:docMk/>
          <pc:sldMk cId="3716027044" sldId="5010"/>
        </pc:sldMkLst>
        <pc:spChg chg="mod">
          <ac:chgData name="Elgee, Jeffrey (SPAC/PSPC)" userId="e10f0e9c-c03f-4fde-9113-11216b420c44" providerId="ADAL" clId="{8A22DB22-CE08-4237-BAFA-661B83772496}" dt="2024-06-06T19:54:43.348" v="1683" actId="20577"/>
          <ac:spMkLst>
            <pc:docMk/>
            <pc:sldMk cId="3716027044" sldId="5010"/>
            <ac:spMk id="2" creationId="{50F19095-D162-D358-FA59-49FDCDDCAA28}"/>
          </ac:spMkLst>
        </pc:spChg>
        <pc:spChg chg="add del mod">
          <ac:chgData name="Elgee, Jeffrey (SPAC/PSPC)" userId="e10f0e9c-c03f-4fde-9113-11216b420c44" providerId="ADAL" clId="{8A22DB22-CE08-4237-BAFA-661B83772496}" dt="2024-06-06T20:02:16.839" v="1686"/>
          <ac:spMkLst>
            <pc:docMk/>
            <pc:sldMk cId="3716027044" sldId="5010"/>
            <ac:spMk id="3" creationId="{7DCED739-C118-050C-81A4-9BE76E7B67B3}"/>
          </ac:spMkLst>
        </pc:spChg>
      </pc:sldChg>
      <pc:sldChg chg="addSp delSp modSp new mod addCm modNotesTx">
        <pc:chgData name="Elgee, Jeffrey (SPAC/PSPC)" userId="e10f0e9c-c03f-4fde-9113-11216b420c44" providerId="ADAL" clId="{8A22DB22-CE08-4237-BAFA-661B83772496}" dt="2024-06-12T13:46:55.352" v="3381"/>
        <pc:sldMkLst>
          <pc:docMk/>
          <pc:sldMk cId="1717449089" sldId="5011"/>
        </pc:sldMkLst>
        <pc:spChg chg="add del mod">
          <ac:chgData name="Elgee, Jeffrey (SPAC/PSPC)" userId="e10f0e9c-c03f-4fde-9113-11216b420c44" providerId="ADAL" clId="{8A22DB22-CE08-4237-BAFA-661B83772496}" dt="2024-06-07T18:41:03.253" v="1783" actId="931"/>
          <ac:spMkLst>
            <pc:docMk/>
            <pc:sldMk cId="1717449089" sldId="5011"/>
            <ac:spMk id="2" creationId="{D7B97794-CF93-0FBC-9885-9B06A92255A4}"/>
          </ac:spMkLst>
        </pc:spChg>
        <pc:spChg chg="mod">
          <ac:chgData name="Elgee, Jeffrey (SPAC/PSPC)" userId="e10f0e9c-c03f-4fde-9113-11216b420c44" providerId="ADAL" clId="{8A22DB22-CE08-4237-BAFA-661B83772496}" dt="2024-06-12T13:44:55.093" v="3233" actId="20577"/>
          <ac:spMkLst>
            <pc:docMk/>
            <pc:sldMk cId="1717449089" sldId="5011"/>
            <ac:spMk id="3" creationId="{DE69AC7C-2B0D-CF31-48EE-53792B4D724E}"/>
          </ac:spMkLst>
        </pc:spChg>
        <pc:spChg chg="add del">
          <ac:chgData name="Elgee, Jeffrey (SPAC/PSPC)" userId="e10f0e9c-c03f-4fde-9113-11216b420c44" providerId="ADAL" clId="{8A22DB22-CE08-4237-BAFA-661B83772496}" dt="2024-06-07T18:08:29.257" v="1722" actId="478"/>
          <ac:spMkLst>
            <pc:docMk/>
            <pc:sldMk cId="1717449089" sldId="5011"/>
            <ac:spMk id="4" creationId="{5B0B17CE-1D12-6D66-D9B2-49E7603A2C9B}"/>
          </ac:spMkLst>
        </pc:spChg>
        <pc:spChg chg="mod">
          <ac:chgData name="Elgee, Jeffrey (SPAC/PSPC)" userId="e10f0e9c-c03f-4fde-9113-11216b420c44" providerId="ADAL" clId="{8A22DB22-CE08-4237-BAFA-661B83772496}" dt="2024-06-07T18:08:02.978" v="1717" actId="20577"/>
          <ac:spMkLst>
            <pc:docMk/>
            <pc:sldMk cId="1717449089" sldId="5011"/>
            <ac:spMk id="5" creationId="{A25F31FD-D91B-2F1F-48B5-8229C5FFF47F}"/>
          </ac:spMkLst>
        </pc:spChg>
        <pc:picChg chg="add del mod">
          <ac:chgData name="Elgee, Jeffrey (SPAC/PSPC)" userId="e10f0e9c-c03f-4fde-9113-11216b420c44" providerId="ADAL" clId="{8A22DB22-CE08-4237-BAFA-661B83772496}" dt="2024-06-07T18:40:13.504" v="1782" actId="931"/>
          <ac:picMkLst>
            <pc:docMk/>
            <pc:sldMk cId="1717449089" sldId="5011"/>
            <ac:picMk id="7" creationId="{DDD00BD3-C64D-90A7-1C98-1DDFA38AC6AC}"/>
          </ac:picMkLst>
        </pc:picChg>
        <pc:picChg chg="add mod">
          <ac:chgData name="Elgee, Jeffrey (SPAC/PSPC)" userId="e10f0e9c-c03f-4fde-9113-11216b420c44" providerId="ADAL" clId="{8A22DB22-CE08-4237-BAFA-661B83772496}" dt="2024-06-07T18:41:03.253" v="1783" actId="931"/>
          <ac:picMkLst>
            <pc:docMk/>
            <pc:sldMk cId="1717449089" sldId="5011"/>
            <ac:picMk id="9" creationId="{454D520A-4398-C925-7442-7C2F3F09B382}"/>
          </ac:picMkLst>
        </pc:picChg>
        <pc:extLst>
          <p:ext xmlns:p="http://schemas.openxmlformats.org/presentationml/2006/main" uri="{D6D511B9-2390-475A-947B-AFAB55BFBCF1}">
            <pc226:cmChg xmlns:pc226="http://schemas.microsoft.com/office/powerpoint/2022/06/main/command" chg="add">
              <pc226:chgData name="Elgee, Jeffrey (SPAC/PSPC)" userId="e10f0e9c-c03f-4fde-9113-11216b420c44" providerId="ADAL" clId="{8A22DB22-CE08-4237-BAFA-661B83772496}" dt="2024-06-12T13:46:55.352" v="3381"/>
              <pc2:cmMkLst xmlns:pc2="http://schemas.microsoft.com/office/powerpoint/2019/9/main/command">
                <pc:docMk/>
                <pc:sldMk cId="1717449089" sldId="5011"/>
                <pc2:cmMk id="{529C2DE1-6C2F-4B5E-84E8-81A027F93166}"/>
              </pc2:cmMkLst>
            </pc226:cmChg>
          </p:ext>
        </pc:extLst>
      </pc:sldChg>
      <pc:sldChg chg="addSp delSp modSp new mod">
        <pc:chgData name="Elgee, Jeffrey (SPAC/PSPC)" userId="e10f0e9c-c03f-4fde-9113-11216b420c44" providerId="ADAL" clId="{8A22DB22-CE08-4237-BAFA-661B83772496}" dt="2024-06-07T20:52:00.760" v="2117" actId="6549"/>
        <pc:sldMkLst>
          <pc:docMk/>
          <pc:sldMk cId="1053501532" sldId="5012"/>
        </pc:sldMkLst>
        <pc:spChg chg="add del mod">
          <ac:chgData name="Elgee, Jeffrey (SPAC/PSPC)" userId="e10f0e9c-c03f-4fde-9113-11216b420c44" providerId="ADAL" clId="{8A22DB22-CE08-4237-BAFA-661B83772496}" dt="2024-06-07T19:27:50.654" v="1959" actId="931"/>
          <ac:spMkLst>
            <pc:docMk/>
            <pc:sldMk cId="1053501532" sldId="5012"/>
            <ac:spMk id="2" creationId="{70A35678-FC8B-3EAB-E299-D440EE8EC432}"/>
          </ac:spMkLst>
        </pc:spChg>
        <pc:spChg chg="mod">
          <ac:chgData name="Elgee, Jeffrey (SPAC/PSPC)" userId="e10f0e9c-c03f-4fde-9113-11216b420c44" providerId="ADAL" clId="{8A22DB22-CE08-4237-BAFA-661B83772496}" dt="2024-06-07T20:52:00.760" v="2117" actId="6549"/>
          <ac:spMkLst>
            <pc:docMk/>
            <pc:sldMk cId="1053501532" sldId="5012"/>
            <ac:spMk id="3" creationId="{F1C3E258-F619-5F69-B737-122EB008B65B}"/>
          </ac:spMkLst>
        </pc:spChg>
        <pc:spChg chg="del">
          <ac:chgData name="Elgee, Jeffrey (SPAC/PSPC)" userId="e10f0e9c-c03f-4fde-9113-11216b420c44" providerId="ADAL" clId="{8A22DB22-CE08-4237-BAFA-661B83772496}" dt="2024-06-07T19:11:28.360" v="1792" actId="478"/>
          <ac:spMkLst>
            <pc:docMk/>
            <pc:sldMk cId="1053501532" sldId="5012"/>
            <ac:spMk id="4" creationId="{E8F373B4-10FF-B63E-DAC7-35F32874F71F}"/>
          </ac:spMkLst>
        </pc:spChg>
        <pc:spChg chg="mod">
          <ac:chgData name="Elgee, Jeffrey (SPAC/PSPC)" userId="e10f0e9c-c03f-4fde-9113-11216b420c44" providerId="ADAL" clId="{8A22DB22-CE08-4237-BAFA-661B83772496}" dt="2024-06-07T19:15:19.466" v="1905" actId="20577"/>
          <ac:spMkLst>
            <pc:docMk/>
            <pc:sldMk cId="1053501532" sldId="5012"/>
            <ac:spMk id="5" creationId="{EA7F99B2-4BB8-F561-E89D-85B8AF383FB1}"/>
          </ac:spMkLst>
        </pc:spChg>
        <pc:picChg chg="add del mod">
          <ac:chgData name="Elgee, Jeffrey (SPAC/PSPC)" userId="e10f0e9c-c03f-4fde-9113-11216b420c44" providerId="ADAL" clId="{8A22DB22-CE08-4237-BAFA-661B83772496}" dt="2024-06-07T19:20:26.131" v="1909" actId="931"/>
          <ac:picMkLst>
            <pc:docMk/>
            <pc:sldMk cId="1053501532" sldId="5012"/>
            <ac:picMk id="7" creationId="{44076123-8F96-1D70-4495-BB774EADEC7A}"/>
          </ac:picMkLst>
        </pc:picChg>
        <pc:picChg chg="add mod">
          <ac:chgData name="Elgee, Jeffrey (SPAC/PSPC)" userId="e10f0e9c-c03f-4fde-9113-11216b420c44" providerId="ADAL" clId="{8A22DB22-CE08-4237-BAFA-661B83772496}" dt="2024-06-07T19:27:50.654" v="1959" actId="931"/>
          <ac:picMkLst>
            <pc:docMk/>
            <pc:sldMk cId="1053501532" sldId="5012"/>
            <ac:picMk id="9" creationId="{5D0D6A5D-EBDD-1FE0-787B-35B1EF327EF8}"/>
          </ac:picMkLst>
        </pc:picChg>
      </pc:sldChg>
      <pc:sldChg chg="modSp del mod">
        <pc:chgData name="Elgee, Jeffrey (SPAC/PSPC)" userId="e10f0e9c-c03f-4fde-9113-11216b420c44" providerId="ADAL" clId="{8A22DB22-CE08-4237-BAFA-661B83772496}" dt="2024-06-10T20:20:56.833" v="2646" actId="2696"/>
        <pc:sldMkLst>
          <pc:docMk/>
          <pc:sldMk cId="1228329092" sldId="5013"/>
        </pc:sldMkLst>
        <pc:spChg chg="mod">
          <ac:chgData name="Elgee, Jeffrey (SPAC/PSPC)" userId="e10f0e9c-c03f-4fde-9113-11216b420c44" providerId="ADAL" clId="{8A22DB22-CE08-4237-BAFA-661B83772496}" dt="2024-06-10T20:20:33.396" v="2645" actId="20577"/>
          <ac:spMkLst>
            <pc:docMk/>
            <pc:sldMk cId="1228329092" sldId="5013"/>
            <ac:spMk id="2" creationId="{2BFF691A-0106-26B8-89C1-55A17307E3C2}"/>
          </ac:spMkLst>
        </pc:spChg>
      </pc:sldChg>
      <pc:sldMasterChg chg="delSldLayout">
        <pc:chgData name="Elgee, Jeffrey (SPAC/PSPC)" userId="e10f0e9c-c03f-4fde-9113-11216b420c44" providerId="ADAL" clId="{8A22DB22-CE08-4237-BAFA-661B83772496}" dt="2024-06-06T18:53:27.402" v="1409" actId="47"/>
        <pc:sldMasterMkLst>
          <pc:docMk/>
          <pc:sldMasterMk cId="792885655" sldId="2147483675"/>
        </pc:sldMasterMkLst>
        <pc:sldLayoutChg chg="del">
          <pc:chgData name="Elgee, Jeffrey (SPAC/PSPC)" userId="e10f0e9c-c03f-4fde-9113-11216b420c44" providerId="ADAL" clId="{8A22DB22-CE08-4237-BAFA-661B83772496}" dt="2024-06-06T18:53:27.402" v="1409" actId="47"/>
          <pc:sldLayoutMkLst>
            <pc:docMk/>
            <pc:sldMasterMk cId="792885655" sldId="2147483675"/>
            <pc:sldLayoutMk cId="2138323" sldId="2147483699"/>
          </pc:sldLayoutMkLst>
        </pc:sldLayoutChg>
      </pc:sldMasterChg>
    </pc:docChg>
  </pc:docChgLst>
  <pc:docChgLst>
    <pc:chgData name="Jacob, Karen (SPAC/PSPC) (elle-la / she-her)" userId="66e9cce0-e37b-4645-a907-f7690bd68dfb" providerId="ADAL" clId="{871AC57A-6E3B-4D85-BA02-8D6F5065EA89}"/>
    <pc:docChg chg="undo redo custSel addSld delSld modSld sldOrd">
      <pc:chgData name="Jacob, Karen (SPAC/PSPC) (elle-la / she-her)" userId="66e9cce0-e37b-4645-a907-f7690bd68dfb" providerId="ADAL" clId="{871AC57A-6E3B-4D85-BA02-8D6F5065EA89}" dt="2024-07-09T18:30:11.750" v="7189" actId="20577"/>
      <pc:docMkLst>
        <pc:docMk/>
      </pc:docMkLst>
      <pc:sldChg chg="mod modShow">
        <pc:chgData name="Jacob, Karen (SPAC/PSPC) (elle-la / she-her)" userId="66e9cce0-e37b-4645-a907-f7690bd68dfb" providerId="ADAL" clId="{871AC57A-6E3B-4D85-BA02-8D6F5065EA89}" dt="2024-06-21T14:25:28.177" v="2811" actId="729"/>
        <pc:sldMkLst>
          <pc:docMk/>
          <pc:sldMk cId="1875387166" sldId="261"/>
        </pc:sldMkLst>
      </pc:sldChg>
      <pc:sldChg chg="modSp mod">
        <pc:chgData name="Jacob, Karen (SPAC/PSPC) (elle-la / she-her)" userId="66e9cce0-e37b-4645-a907-f7690bd68dfb" providerId="ADAL" clId="{871AC57A-6E3B-4D85-BA02-8D6F5065EA89}" dt="2024-06-21T13:24:13.743" v="1274" actId="20577"/>
        <pc:sldMkLst>
          <pc:docMk/>
          <pc:sldMk cId="1739606208" sldId="384"/>
        </pc:sldMkLst>
        <pc:spChg chg="mod">
          <ac:chgData name="Jacob, Karen (SPAC/PSPC) (elle-la / she-her)" userId="66e9cce0-e37b-4645-a907-f7690bd68dfb" providerId="ADAL" clId="{871AC57A-6E3B-4D85-BA02-8D6F5065EA89}" dt="2024-06-21T13:23:59.291" v="1235" actId="20577"/>
          <ac:spMkLst>
            <pc:docMk/>
            <pc:sldMk cId="1739606208" sldId="384"/>
            <ac:spMk id="2" creationId="{00000000-0000-0000-0000-000000000000}"/>
          </ac:spMkLst>
        </pc:spChg>
        <pc:spChg chg="mod">
          <ac:chgData name="Jacob, Karen (SPAC/PSPC) (elle-la / she-her)" userId="66e9cce0-e37b-4645-a907-f7690bd68dfb" providerId="ADAL" clId="{871AC57A-6E3B-4D85-BA02-8D6F5065EA89}" dt="2024-06-21T13:24:13.743" v="1274" actId="20577"/>
          <ac:spMkLst>
            <pc:docMk/>
            <pc:sldMk cId="1739606208" sldId="384"/>
            <ac:spMk id="3" creationId="{00000000-0000-0000-0000-000000000000}"/>
          </ac:spMkLst>
        </pc:spChg>
      </pc:sldChg>
      <pc:sldChg chg="addSp delSp modSp add mod">
        <pc:chgData name="Jacob, Karen (SPAC/PSPC) (elle-la / she-her)" userId="66e9cce0-e37b-4645-a907-f7690bd68dfb" providerId="ADAL" clId="{871AC57A-6E3B-4D85-BA02-8D6F5065EA89}" dt="2024-06-21T15:27:24.701" v="4710" actId="1076"/>
        <pc:sldMkLst>
          <pc:docMk/>
          <pc:sldMk cId="986189170" sldId="393"/>
        </pc:sldMkLst>
        <pc:spChg chg="mod">
          <ac:chgData name="Jacob, Karen (SPAC/PSPC) (elle-la / she-her)" userId="66e9cce0-e37b-4645-a907-f7690bd68dfb" providerId="ADAL" clId="{871AC57A-6E3B-4D85-BA02-8D6F5065EA89}" dt="2024-06-21T14:49:55.711" v="3462" actId="20577"/>
          <ac:spMkLst>
            <pc:docMk/>
            <pc:sldMk cId="986189170" sldId="393"/>
            <ac:spMk id="2" creationId="{81BABC30-17CF-4A05-BBF2-C491854EEE86}"/>
          </ac:spMkLst>
        </pc:spChg>
        <pc:spChg chg="add del mod">
          <ac:chgData name="Jacob, Karen (SPAC/PSPC) (elle-la / she-her)" userId="66e9cce0-e37b-4645-a907-f7690bd68dfb" providerId="ADAL" clId="{871AC57A-6E3B-4D85-BA02-8D6F5065EA89}" dt="2024-06-21T15:27:18.300" v="4709" actId="478"/>
          <ac:spMkLst>
            <pc:docMk/>
            <pc:sldMk cId="986189170" sldId="393"/>
            <ac:spMk id="3" creationId="{57A73D9B-F49C-8A88-17FF-A48188B2CD31}"/>
          </ac:spMkLst>
        </pc:spChg>
        <pc:spChg chg="mod">
          <ac:chgData name="Jacob, Karen (SPAC/PSPC) (elle-la / she-her)" userId="66e9cce0-e37b-4645-a907-f7690bd68dfb" providerId="ADAL" clId="{871AC57A-6E3B-4D85-BA02-8D6F5065EA89}" dt="2024-06-21T14:21:00.852" v="2672" actId="20577"/>
          <ac:spMkLst>
            <pc:docMk/>
            <pc:sldMk cId="986189170" sldId="393"/>
            <ac:spMk id="42" creationId="{BCEE7515-3524-472F-8F58-BF6E58A6FF68}"/>
          </ac:spMkLst>
        </pc:spChg>
        <pc:spChg chg="mod">
          <ac:chgData name="Jacob, Karen (SPAC/PSPC) (elle-la / she-her)" userId="66e9cce0-e37b-4645-a907-f7690bd68dfb" providerId="ADAL" clId="{871AC57A-6E3B-4D85-BA02-8D6F5065EA89}" dt="2024-06-21T14:21:08.140" v="2675" actId="20577"/>
          <ac:spMkLst>
            <pc:docMk/>
            <pc:sldMk cId="986189170" sldId="393"/>
            <ac:spMk id="43" creationId="{A95862EF-6835-47F7-810D-D13EB59C9F3C}"/>
          </ac:spMkLst>
        </pc:spChg>
        <pc:spChg chg="mod">
          <ac:chgData name="Jacob, Karen (SPAC/PSPC) (elle-la / she-her)" userId="66e9cce0-e37b-4645-a907-f7690bd68dfb" providerId="ADAL" clId="{871AC57A-6E3B-4D85-BA02-8D6F5065EA89}" dt="2024-06-21T14:31:33.531" v="2852" actId="1076"/>
          <ac:spMkLst>
            <pc:docMk/>
            <pc:sldMk cId="986189170" sldId="393"/>
            <ac:spMk id="44" creationId="{279DBB7C-9EAA-452F-95CC-784DB91B3516}"/>
          </ac:spMkLst>
        </pc:spChg>
        <pc:spChg chg="mod">
          <ac:chgData name="Jacob, Karen (SPAC/PSPC) (elle-la / she-her)" userId="66e9cce0-e37b-4645-a907-f7690bd68dfb" providerId="ADAL" clId="{871AC57A-6E3B-4D85-BA02-8D6F5065EA89}" dt="2024-06-21T14:21:20.953" v="2681" actId="20577"/>
          <ac:spMkLst>
            <pc:docMk/>
            <pc:sldMk cId="986189170" sldId="393"/>
            <ac:spMk id="45" creationId="{B399EB39-A3D7-4EC0-9D48-E3D784BD2DD7}"/>
          </ac:spMkLst>
        </pc:spChg>
        <pc:spChg chg="mod">
          <ac:chgData name="Jacob, Karen (SPAC/PSPC) (elle-la / she-her)" userId="66e9cce0-e37b-4645-a907-f7690bd68dfb" providerId="ADAL" clId="{871AC57A-6E3B-4D85-BA02-8D6F5065EA89}" dt="2024-06-21T14:30:52.964" v="2849" actId="113"/>
          <ac:spMkLst>
            <pc:docMk/>
            <pc:sldMk cId="986189170" sldId="393"/>
            <ac:spMk id="46" creationId="{C1C564CC-726D-4AF9-9415-EA9A7827EF0B}"/>
          </ac:spMkLst>
        </pc:spChg>
        <pc:spChg chg="mod">
          <ac:chgData name="Jacob, Karen (SPAC/PSPC) (elle-la / she-her)" userId="66e9cce0-e37b-4645-a907-f7690bd68dfb" providerId="ADAL" clId="{871AC57A-6E3B-4D85-BA02-8D6F5065EA89}" dt="2024-06-21T14:31:30.537" v="2851" actId="1076"/>
          <ac:spMkLst>
            <pc:docMk/>
            <pc:sldMk cId="986189170" sldId="393"/>
            <ac:spMk id="47" creationId="{7610ADAC-96D2-4161-8E5B-D809086A6EA4}"/>
          </ac:spMkLst>
        </pc:spChg>
        <pc:spChg chg="mod">
          <ac:chgData name="Jacob, Karen (SPAC/PSPC) (elle-la / she-her)" userId="66e9cce0-e37b-4645-a907-f7690bd68dfb" providerId="ADAL" clId="{871AC57A-6E3B-4D85-BA02-8D6F5065EA89}" dt="2024-06-21T14:31:42.903" v="2867" actId="20577"/>
          <ac:spMkLst>
            <pc:docMk/>
            <pc:sldMk cId="986189170" sldId="393"/>
            <ac:spMk id="48" creationId="{36C29F3A-8516-44CE-8C66-B51F2F37DA86}"/>
          </ac:spMkLst>
        </pc:spChg>
        <pc:spChg chg="mod">
          <ac:chgData name="Jacob, Karen (SPAC/PSPC) (elle-la / she-her)" userId="66e9cce0-e37b-4645-a907-f7690bd68dfb" providerId="ADAL" clId="{871AC57A-6E3B-4D85-BA02-8D6F5065EA89}" dt="2024-06-21T14:25:05.486" v="2810" actId="20577"/>
          <ac:spMkLst>
            <pc:docMk/>
            <pc:sldMk cId="986189170" sldId="393"/>
            <ac:spMk id="49" creationId="{78CC5D01-D6DD-4F92-AA98-55AB1B20A00F}"/>
          </ac:spMkLst>
        </pc:spChg>
        <pc:spChg chg="mod">
          <ac:chgData name="Jacob, Karen (SPAC/PSPC) (elle-la / she-her)" userId="66e9cce0-e37b-4645-a907-f7690bd68dfb" providerId="ADAL" clId="{871AC57A-6E3B-4D85-BA02-8D6F5065EA89}" dt="2024-06-21T14:51:42.531" v="3593" actId="20577"/>
          <ac:spMkLst>
            <pc:docMk/>
            <pc:sldMk cId="986189170" sldId="393"/>
            <ac:spMk id="50" creationId="{DE50AACE-0335-48A5-BAF4-47E45007D9DC}"/>
          </ac:spMkLst>
        </pc:spChg>
        <pc:grpChg chg="mod">
          <ac:chgData name="Jacob, Karen (SPAC/PSPC) (elle-la / she-her)" userId="66e9cce0-e37b-4645-a907-f7690bd68dfb" providerId="ADAL" clId="{871AC57A-6E3B-4D85-BA02-8D6F5065EA89}" dt="2024-06-21T15:27:24.701" v="4710" actId="1076"/>
          <ac:grpSpMkLst>
            <pc:docMk/>
            <pc:sldMk cId="986189170" sldId="393"/>
            <ac:grpSpMk id="39" creationId="{C2191868-CCF5-4452-B018-92CA700DC7A2}"/>
          </ac:grpSpMkLst>
        </pc:grpChg>
      </pc:sldChg>
      <pc:sldChg chg="modSp mod delCm modCm">
        <pc:chgData name="Jacob, Karen (SPAC/PSPC) (elle-la / she-her)" userId="66e9cce0-e37b-4645-a907-f7690bd68dfb" providerId="ADAL" clId="{871AC57A-6E3B-4D85-BA02-8D6F5065EA89}" dt="2024-06-21T14:47:59.360" v="3357" actId="6549"/>
        <pc:sldMkLst>
          <pc:docMk/>
          <pc:sldMk cId="3291831031" sldId="4970"/>
        </pc:sldMkLst>
        <pc:spChg chg="mod">
          <ac:chgData name="Jacob, Karen (SPAC/PSPC) (elle-la / she-her)" userId="66e9cce0-e37b-4645-a907-f7690bd68dfb" providerId="ADAL" clId="{871AC57A-6E3B-4D85-BA02-8D6F5065EA89}" dt="2024-06-21T14:47:59.360" v="3357" actId="6549"/>
          <ac:spMkLst>
            <pc:docMk/>
            <pc:sldMk cId="3291831031" sldId="4970"/>
            <ac:spMk id="2" creationId="{C74025A8-BF11-4E8B-9432-F1A9787EEC2E}"/>
          </ac:spMkLst>
        </pc:spChg>
        <pc:spChg chg="mod">
          <ac:chgData name="Jacob, Karen (SPAC/PSPC) (elle-la / she-her)" userId="66e9cce0-e37b-4645-a907-f7690bd68dfb" providerId="ADAL" clId="{871AC57A-6E3B-4D85-BA02-8D6F5065EA89}" dt="2024-06-21T13:27:50.202" v="1385" actId="20577"/>
          <ac:spMkLst>
            <pc:docMk/>
            <pc:sldMk cId="3291831031" sldId="4970"/>
            <ac:spMk id="6" creationId="{1E046C2E-5794-1A98-BBEA-235FF863B218}"/>
          </ac:spMkLst>
        </pc:spChg>
        <pc:extLst>
          <p:ext xmlns:p="http://schemas.openxmlformats.org/presentationml/2006/main" uri="{D6D511B9-2390-475A-947B-AFAB55BFBCF1}">
            <pc226:cmChg xmlns:pc226="http://schemas.microsoft.com/office/powerpoint/2022/06/main/command" chg="del mod">
              <pc226:chgData name="Jacob, Karen (SPAC/PSPC) (elle-la / she-her)" userId="66e9cce0-e37b-4645-a907-f7690bd68dfb" providerId="ADAL" clId="{871AC57A-6E3B-4D85-BA02-8D6F5065EA89}" dt="2024-06-21T13:26:57.408" v="1337"/>
              <pc2:cmMkLst xmlns:pc2="http://schemas.microsoft.com/office/powerpoint/2019/9/main/command">
                <pc:docMk/>
                <pc:sldMk cId="3291831031" sldId="4970"/>
                <pc2:cmMk id="{2025D868-EAE7-453C-BECC-1981833F9191}"/>
              </pc2:cmMkLst>
            </pc226:cmChg>
          </p:ext>
        </pc:extLst>
      </pc:sldChg>
      <pc:sldChg chg="addCm delCm modCm">
        <pc:chgData name="Jacob, Karen (SPAC/PSPC) (elle-la / she-her)" userId="66e9cce0-e37b-4645-a907-f7690bd68dfb" providerId="ADAL" clId="{871AC57A-6E3B-4D85-BA02-8D6F5065EA89}" dt="2024-06-04T20:14:37.069" v="76"/>
        <pc:sldMkLst>
          <pc:docMk/>
          <pc:sldMk cId="4155933925" sldId="4984"/>
        </pc:sldMkLst>
        <pc:extLst>
          <p:ext xmlns:p="http://schemas.openxmlformats.org/presentationml/2006/main" uri="{D6D511B9-2390-475A-947B-AFAB55BFBCF1}">
            <pc226:cmChg xmlns:pc226="http://schemas.microsoft.com/office/powerpoint/2022/06/main/command" chg="">
              <pc226:chgData name="Jacob, Karen (SPAC/PSPC) (elle-la / she-her)" userId="66e9cce0-e37b-4645-a907-f7690bd68dfb" providerId="ADAL" clId="{871AC57A-6E3B-4D85-BA02-8D6F5065EA89}" dt="2024-06-04T20:14:30.484" v="75"/>
              <pc2:cmMkLst xmlns:pc2="http://schemas.microsoft.com/office/powerpoint/2019/9/main/command">
                <pc:docMk/>
                <pc:sldMk cId="4155933925" sldId="4984"/>
                <pc2:cmMk id="{65D6F518-B3A5-41F4-BB91-094F93D09B64}"/>
              </pc2:cmMkLst>
              <pc226:cmRplyChg chg="add">
                <pc226:chgData name="Jacob, Karen (SPAC/PSPC) (elle-la / she-her)" userId="66e9cce0-e37b-4645-a907-f7690bd68dfb" providerId="ADAL" clId="{871AC57A-6E3B-4D85-BA02-8D6F5065EA89}" dt="2024-06-04T20:14:30.484" v="75"/>
                <pc2:cmRplyMkLst xmlns:pc2="http://schemas.microsoft.com/office/powerpoint/2019/9/main/command">
                  <pc:docMk/>
                  <pc:sldMk cId="4155933925" sldId="4984"/>
                  <pc2:cmMk id="{65D6F518-B3A5-41F4-BB91-094F93D09B64}"/>
                  <pc2:cmRplyMk id="{39D276F6-9CD1-4872-A380-67D257E5D3AD}"/>
                </pc2:cmRplyMkLst>
              </pc226:cmRplyChg>
            </pc226:cmChg>
            <pc226:cmChg xmlns:pc226="http://schemas.microsoft.com/office/powerpoint/2022/06/main/command" chg="add del">
              <pc226:chgData name="Jacob, Karen (SPAC/PSPC) (elle-la / she-her)" userId="66e9cce0-e37b-4645-a907-f7690bd68dfb" providerId="ADAL" clId="{871AC57A-6E3B-4D85-BA02-8D6F5065EA89}" dt="2024-06-04T20:14:37.069" v="76"/>
              <pc2:cmMkLst xmlns:pc2="http://schemas.microsoft.com/office/powerpoint/2019/9/main/command">
                <pc:docMk/>
                <pc:sldMk cId="4155933925" sldId="4984"/>
                <pc2:cmMk id="{4D93B2F6-7E8A-4BB7-B8E1-085D9D74230F}"/>
              </pc2:cmMkLst>
            </pc226:cmChg>
          </p:ext>
        </pc:extLst>
      </pc:sldChg>
      <pc:sldChg chg="modSp mod delCm">
        <pc:chgData name="Jacob, Karen (SPAC/PSPC) (elle-la / she-her)" userId="66e9cce0-e37b-4645-a907-f7690bd68dfb" providerId="ADAL" clId="{871AC57A-6E3B-4D85-BA02-8D6F5065EA89}" dt="2024-06-21T12:35:59.091" v="155" actId="20577"/>
        <pc:sldMkLst>
          <pc:docMk/>
          <pc:sldMk cId="625183133" sldId="4986"/>
        </pc:sldMkLst>
        <pc:spChg chg="mod">
          <ac:chgData name="Jacob, Karen (SPAC/PSPC) (elle-la / she-her)" userId="66e9cce0-e37b-4645-a907-f7690bd68dfb" providerId="ADAL" clId="{871AC57A-6E3B-4D85-BA02-8D6F5065EA89}" dt="2024-06-21T12:35:59.091" v="155" actId="20577"/>
          <ac:spMkLst>
            <pc:docMk/>
            <pc:sldMk cId="625183133" sldId="4986"/>
            <ac:spMk id="3" creationId="{CC8B02F3-0C27-03C9-5D56-EC07236B6660}"/>
          </ac:spMkLst>
        </pc:sp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04T19:59:33.021" v="30"/>
              <pc2:cmMkLst xmlns:pc2="http://schemas.microsoft.com/office/powerpoint/2019/9/main/command">
                <pc:docMk/>
                <pc:sldMk cId="625183133" sldId="4986"/>
                <pc2:cmMk id="{1B26C75B-876F-48AD-9E22-A2C57F3DA19A}"/>
              </pc2:cmMkLst>
            </pc226:cmChg>
          </p:ext>
        </pc:extLst>
      </pc:sldChg>
      <pc:sldChg chg="delCm modCm">
        <pc:chgData name="Jacob, Karen (SPAC/PSPC) (elle-la / she-her)" userId="66e9cce0-e37b-4645-a907-f7690bd68dfb" providerId="ADAL" clId="{871AC57A-6E3B-4D85-BA02-8D6F5065EA89}" dt="2024-06-04T20:15:59.597" v="79"/>
        <pc:sldMkLst>
          <pc:docMk/>
          <pc:sldMk cId="3586646843" sldId="4988"/>
        </pc:sldMkLst>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15:59.597" v="79"/>
              <pc2:cmMkLst xmlns:pc2="http://schemas.microsoft.com/office/powerpoint/2019/9/main/command">
                <pc:docMk/>
                <pc:sldMk cId="3586646843" sldId="4988"/>
                <pc2:cmMk id="{40E56E7B-BFF7-459D-A9B0-95CA3CD398EC}"/>
              </pc2:cmMkLst>
              <pc226:cmRplyChg chg="del">
                <pc226:chgData name="Jacob, Karen (SPAC/PSPC) (elle-la / she-her)" userId="66e9cce0-e37b-4645-a907-f7690bd68dfb" providerId="ADAL" clId="{871AC57A-6E3B-4D85-BA02-8D6F5065EA89}" dt="2024-06-04T20:15:59.597" v="79"/>
                <pc2:cmRplyMkLst xmlns:pc2="http://schemas.microsoft.com/office/powerpoint/2019/9/main/command">
                  <pc:docMk/>
                  <pc:sldMk cId="3586646843" sldId="4988"/>
                  <pc2:cmMk id="{40E56E7B-BFF7-459D-A9B0-95CA3CD398EC}"/>
                  <pc2:cmRplyMk id="{F6885D90-08EB-48FF-B680-46F700B39EDC}"/>
                </pc2:cmRplyMkLst>
              </pc226:cmRplyChg>
            </pc226:cmChg>
            <pc226:cmChg xmlns:pc226="http://schemas.microsoft.com/office/powerpoint/2022/06/main/command" chg="del">
              <pc226:chgData name="Jacob, Karen (SPAC/PSPC) (elle-la / she-her)" userId="66e9cce0-e37b-4645-a907-f7690bd68dfb" providerId="ADAL" clId="{871AC57A-6E3B-4D85-BA02-8D6F5065EA89}" dt="2024-06-04T20:15:09.593" v="77"/>
              <pc2:cmMkLst xmlns:pc2="http://schemas.microsoft.com/office/powerpoint/2019/9/main/command">
                <pc:docMk/>
                <pc:sldMk cId="3586646843" sldId="4988"/>
                <pc2:cmMk id="{9B1D0092-CC1B-421C-813E-D08E625F0EBC}"/>
              </pc2:cmMkLst>
            </pc226:cmChg>
          </p:ext>
        </pc:extLst>
      </pc:sldChg>
      <pc:sldChg chg="addCm modCm">
        <pc:chgData name="Jacob, Karen (SPAC/PSPC) (elle-la / she-her)" userId="66e9cce0-e37b-4645-a907-f7690bd68dfb" providerId="ADAL" clId="{871AC57A-6E3B-4D85-BA02-8D6F5065EA89}" dt="2024-06-04T20:12:58.344" v="74"/>
        <pc:sldMkLst>
          <pc:docMk/>
          <pc:sldMk cId="2433718045" sldId="4989"/>
        </pc:sldMkLst>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4T20:12:58.344" v="74"/>
              <pc2:cmMkLst xmlns:pc2="http://schemas.microsoft.com/office/powerpoint/2019/9/main/command">
                <pc:docMk/>
                <pc:sldMk cId="2433718045" sldId="4989"/>
                <pc2:cmMk id="{D0197CB9-1180-49B5-A3DF-B9537F0CCDB4}"/>
              </pc2:cmMkLst>
            </pc226:cmChg>
            <pc226:cmChg xmlns:pc226="http://schemas.microsoft.com/office/powerpoint/2022/06/main/command" chg="mod">
              <pc226:chgData name="Jacob, Karen (SPAC/PSPC) (elle-la / she-her)" userId="66e9cce0-e37b-4645-a907-f7690bd68dfb" providerId="ADAL" clId="{871AC57A-6E3B-4D85-BA02-8D6F5065EA89}" dt="2024-06-04T20:11:45.648" v="73"/>
              <pc2:cmMkLst xmlns:pc2="http://schemas.microsoft.com/office/powerpoint/2019/9/main/command">
                <pc:docMk/>
                <pc:sldMk cId="2433718045" sldId="4989"/>
                <pc2:cmMk id="{4CC7B8F1-3568-42F1-9669-AEAFF5D3D4BB}"/>
              </pc2:cmMkLst>
              <pc226:cmRplyChg chg="del">
                <pc226:chgData name="Jacob, Karen (SPAC/PSPC) (elle-la / she-her)" userId="66e9cce0-e37b-4645-a907-f7690bd68dfb" providerId="ADAL" clId="{871AC57A-6E3B-4D85-BA02-8D6F5065EA89}" dt="2024-06-04T20:11:45.648" v="73"/>
                <pc2:cmRplyMkLst xmlns:pc2="http://schemas.microsoft.com/office/powerpoint/2019/9/main/command">
                  <pc:docMk/>
                  <pc:sldMk cId="2433718045" sldId="4989"/>
                  <pc2:cmMk id="{4CC7B8F1-3568-42F1-9669-AEAFF5D3D4BB}"/>
                  <pc2:cmRplyMk id="{9C449CA2-36E8-4094-BA68-102A7D2D0525}"/>
                </pc2:cmRplyMkLst>
              </pc226:cmRplyChg>
            </pc226:cmChg>
          </p:ext>
        </pc:extLst>
      </pc:sldChg>
      <pc:sldChg chg="modSp mod ord modCm">
        <pc:chgData name="Jacob, Karen (SPAC/PSPC) (elle-la / she-her)" userId="66e9cce0-e37b-4645-a907-f7690bd68dfb" providerId="ADAL" clId="{871AC57A-6E3B-4D85-BA02-8D6F5065EA89}" dt="2024-06-21T15:18:48.693" v="4374"/>
        <pc:sldMkLst>
          <pc:docMk/>
          <pc:sldMk cId="3675530289" sldId="4990"/>
        </pc:sldMkLst>
        <pc:spChg chg="mod">
          <ac:chgData name="Jacob, Karen (SPAC/PSPC) (elle-la / she-her)" userId="66e9cce0-e37b-4645-a907-f7690bd68dfb" providerId="ADAL" clId="{871AC57A-6E3B-4D85-BA02-8D6F5065EA89}" dt="2024-06-21T14:26:02.275" v="2815" actId="14100"/>
          <ac:spMkLst>
            <pc:docMk/>
            <pc:sldMk cId="3675530289" sldId="4990"/>
            <ac:spMk id="3" creationId="{850EFA27-BB7E-A97B-CC4E-5CD87E1BCE56}"/>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04T20:22:45.226" v="86"/>
              <pc2:cmMkLst xmlns:pc2="http://schemas.microsoft.com/office/powerpoint/2019/9/main/command">
                <pc:docMk/>
                <pc:sldMk cId="3675530289" sldId="4990"/>
                <pc2:cmMk id="{A671E939-DC8C-4E10-9919-42392E18B6FD}"/>
              </pc2:cmMkLst>
              <pc226:cmRplyChg chg="add">
                <pc226:chgData name="Jacob, Karen (SPAC/PSPC) (elle-la / she-her)" userId="66e9cce0-e37b-4645-a907-f7690bd68dfb" providerId="ADAL" clId="{871AC57A-6E3B-4D85-BA02-8D6F5065EA89}" dt="2024-06-04T20:22:45.226" v="86"/>
                <pc2:cmRplyMkLst xmlns:pc2="http://schemas.microsoft.com/office/powerpoint/2019/9/main/command">
                  <pc:docMk/>
                  <pc:sldMk cId="3675530289" sldId="4990"/>
                  <pc2:cmMk id="{A671E939-DC8C-4E10-9919-42392E18B6FD}"/>
                  <pc2:cmRplyMk id="{9E3CE418-3C4E-4134-9024-0561D7888A57}"/>
                </pc2:cmRplyMkLst>
              </pc226:cmRplyChg>
            </pc226:cmChg>
          </p:ext>
        </pc:extLst>
      </pc:sldChg>
      <pc:sldChg chg="modSp mod modShow addCm delCm modCm modNotesTx">
        <pc:chgData name="Jacob, Karen (SPAC/PSPC) (elle-la / she-her)" userId="66e9cce0-e37b-4645-a907-f7690bd68dfb" providerId="ADAL" clId="{871AC57A-6E3B-4D85-BA02-8D6F5065EA89}" dt="2024-06-21T14:50:51.848" v="3581" actId="729"/>
        <pc:sldMkLst>
          <pc:docMk/>
          <pc:sldMk cId="3633628159" sldId="4991"/>
        </pc:sldMkLst>
        <pc:spChg chg="mod">
          <ac:chgData name="Jacob, Karen (SPAC/PSPC) (elle-la / she-her)" userId="66e9cce0-e37b-4645-a907-f7690bd68dfb" providerId="ADAL" clId="{871AC57A-6E3B-4D85-BA02-8D6F5065EA89}" dt="2024-06-03T19:58:20.052" v="8" actId="20577"/>
          <ac:spMkLst>
            <pc:docMk/>
            <pc:sldMk cId="3633628159" sldId="4991"/>
            <ac:spMk id="5" creationId="{7355CE02-C050-2D1D-7167-E0B448A5052A}"/>
          </ac:spMkLst>
        </pc:spChg>
        <pc:extLst>
          <p:ext xmlns:p="http://schemas.openxmlformats.org/presentationml/2006/main" uri="{D6D511B9-2390-475A-947B-AFAB55BFBCF1}">
            <pc226:cmChg xmlns:pc226="http://schemas.microsoft.com/office/powerpoint/2022/06/main/command" chg="add del">
              <pc226:chgData name="Jacob, Karen (SPAC/PSPC) (elle-la / she-her)" userId="66e9cce0-e37b-4645-a907-f7690bd68dfb" providerId="ADAL" clId="{871AC57A-6E3B-4D85-BA02-8D6F5065EA89}" dt="2024-06-04T20:18:17.607" v="82"/>
              <pc2:cmMkLst xmlns:pc2="http://schemas.microsoft.com/office/powerpoint/2019/9/main/command">
                <pc:docMk/>
                <pc:sldMk cId="3633628159" sldId="4991"/>
                <pc2:cmMk id="{7CDBA360-FAA6-49D3-9257-E9A72765AABD}"/>
              </pc2:cmMkLst>
            </pc226:cmChg>
            <pc226:cmChg xmlns:pc226="http://schemas.microsoft.com/office/powerpoint/2022/06/main/command" chg="mod">
              <pc226:chgData name="Jacob, Karen (SPAC/PSPC) (elle-la / she-her)" userId="66e9cce0-e37b-4645-a907-f7690bd68dfb" providerId="ADAL" clId="{871AC57A-6E3B-4D85-BA02-8D6F5065EA89}" dt="2024-06-04T20:20:29.976" v="84"/>
              <pc2:cmMkLst xmlns:pc2="http://schemas.microsoft.com/office/powerpoint/2019/9/main/command">
                <pc:docMk/>
                <pc:sldMk cId="3633628159" sldId="4991"/>
                <pc2:cmMk id="{D2CE9BCC-9530-493F-BC3F-9D47F64F0084}"/>
              </pc2:cmMkLst>
            </pc226:cmChg>
            <pc226:cmChg xmlns:pc226="http://schemas.microsoft.com/office/powerpoint/2022/06/main/command" chg="del">
              <pc226:chgData name="Jacob, Karen (SPAC/PSPC) (elle-la / she-her)" userId="66e9cce0-e37b-4645-a907-f7690bd68dfb" providerId="ADAL" clId="{871AC57A-6E3B-4D85-BA02-8D6F5065EA89}" dt="2024-06-04T20:18:19.881" v="83"/>
              <pc2:cmMkLst xmlns:pc2="http://schemas.microsoft.com/office/powerpoint/2019/9/main/command">
                <pc:docMk/>
                <pc:sldMk cId="3633628159" sldId="4991"/>
                <pc2:cmMk id="{075498D0-E803-4B79-ACEB-CF432821BD07}"/>
              </pc2:cmMkLst>
            </pc226:cmChg>
          </p:ext>
        </pc:extLst>
      </pc:sldChg>
      <pc:sldChg chg="modSp mod addCm delCm">
        <pc:chgData name="Jacob, Karen (SPAC/PSPC) (elle-la / she-her)" userId="66e9cce0-e37b-4645-a907-f7690bd68dfb" providerId="ADAL" clId="{871AC57A-6E3B-4D85-BA02-8D6F5065EA89}" dt="2024-06-21T20:09:11.407" v="5547" actId="20577"/>
        <pc:sldMkLst>
          <pc:docMk/>
          <pc:sldMk cId="388099589" sldId="4992"/>
        </pc:sldMkLst>
        <pc:spChg chg="mod">
          <ac:chgData name="Jacob, Karen (SPAC/PSPC) (elle-la / she-her)" userId="66e9cce0-e37b-4645-a907-f7690bd68dfb" providerId="ADAL" clId="{871AC57A-6E3B-4D85-BA02-8D6F5065EA89}" dt="2024-06-21T20:09:11.407" v="5547" actId="20577"/>
          <ac:spMkLst>
            <pc:docMk/>
            <pc:sldMk cId="388099589" sldId="4992"/>
            <ac:spMk id="15" creationId="{2A224E51-C8E2-AF04-0A70-65F6548C9FA5}"/>
          </ac:spMkLst>
        </pc:spChg>
        <pc:spChg chg="mod">
          <ac:chgData name="Jacob, Karen (SPAC/PSPC) (elle-la / she-her)" userId="66e9cce0-e37b-4645-a907-f7690bd68dfb" providerId="ADAL" clId="{871AC57A-6E3B-4D85-BA02-8D6F5065EA89}" dt="2024-06-21T15:26:39.443" v="4690" actId="1076"/>
          <ac:spMkLst>
            <pc:docMk/>
            <pc:sldMk cId="388099589" sldId="4992"/>
            <ac:spMk id="16" creationId="{DDBAA832-5D5B-F155-4F32-06C89A6062D9}"/>
          </ac:spMkLst>
        </pc:spChg>
        <pc:spChg chg="mod">
          <ac:chgData name="Jacob, Karen (SPAC/PSPC) (elle-la / she-her)" userId="66e9cce0-e37b-4645-a907-f7690bd68dfb" providerId="ADAL" clId="{871AC57A-6E3B-4D85-BA02-8D6F5065EA89}" dt="2024-06-21T15:26:34.866" v="4688" actId="1076"/>
          <ac:spMkLst>
            <pc:docMk/>
            <pc:sldMk cId="388099589" sldId="4992"/>
            <ac:spMk id="17" creationId="{03D46260-31B6-3CBA-D6E4-2A34CD363B83}"/>
          </ac:spMkLst>
        </pc:spChg>
        <pc:spChg chg="mod">
          <ac:chgData name="Jacob, Karen (SPAC/PSPC) (elle-la / she-her)" userId="66e9cce0-e37b-4645-a907-f7690bd68dfb" providerId="ADAL" clId="{871AC57A-6E3B-4D85-BA02-8D6F5065EA89}" dt="2024-06-21T15:26:44.280" v="4692" actId="1076"/>
          <ac:spMkLst>
            <pc:docMk/>
            <pc:sldMk cId="388099589" sldId="4992"/>
            <ac:spMk id="18" creationId="{4EF912C3-D6D2-8ADB-9455-F0BB3EFD9484}"/>
          </ac:spMkLst>
        </pc:spChg>
        <pc:spChg chg="mod">
          <ac:chgData name="Jacob, Karen (SPAC/PSPC) (elle-la / she-her)" userId="66e9cce0-e37b-4645-a907-f7690bd68dfb" providerId="ADAL" clId="{871AC57A-6E3B-4D85-BA02-8D6F5065EA89}" dt="2024-06-21T14:29:24.732" v="2847" actId="1036"/>
          <ac:spMkLst>
            <pc:docMk/>
            <pc:sldMk cId="388099589" sldId="4992"/>
            <ac:spMk id="19" creationId="{5DABBC32-D0F2-5FB4-F32B-6ACB5C70FCBB}"/>
          </ac:spMkLst>
        </pc:spChg>
        <pc:picChg chg="mod">
          <ac:chgData name="Jacob, Karen (SPAC/PSPC) (elle-la / she-her)" userId="66e9cce0-e37b-4645-a907-f7690bd68dfb" providerId="ADAL" clId="{871AC57A-6E3B-4D85-BA02-8D6F5065EA89}" dt="2024-06-21T14:29:24.732" v="2847" actId="1036"/>
          <ac:picMkLst>
            <pc:docMk/>
            <pc:sldMk cId="388099589" sldId="4992"/>
            <ac:picMk id="9" creationId="{CFECC87B-723E-8826-6C4D-682E01302215}"/>
          </ac:picMkLst>
        </pc:picChg>
        <pc:picChg chg="mod">
          <ac:chgData name="Jacob, Karen (SPAC/PSPC) (elle-la / she-her)" userId="66e9cce0-e37b-4645-a907-f7690bd68dfb" providerId="ADAL" clId="{871AC57A-6E3B-4D85-BA02-8D6F5065EA89}" dt="2024-06-21T15:26:41.350" v="4691" actId="1076"/>
          <ac:picMkLst>
            <pc:docMk/>
            <pc:sldMk cId="388099589" sldId="4992"/>
            <ac:picMk id="10" creationId="{EE1B7117-FE8F-8104-AF1D-A9871CD54FDE}"/>
          </ac:picMkLst>
        </pc:picChg>
        <pc:picChg chg="mod">
          <ac:chgData name="Jacob, Karen (SPAC/PSPC) (elle-la / she-her)" userId="66e9cce0-e37b-4645-a907-f7690bd68dfb" providerId="ADAL" clId="{871AC57A-6E3B-4D85-BA02-8D6F5065EA89}" dt="2024-06-21T15:26:31.593" v="4687" actId="1076"/>
          <ac:picMkLst>
            <pc:docMk/>
            <pc:sldMk cId="388099589" sldId="4992"/>
            <ac:picMk id="11" creationId="{0A95C047-D6CC-A24A-9FFE-34EA9062B06B}"/>
          </ac:picMkLst>
        </pc:picChg>
        <pc:picChg chg="mod">
          <ac:chgData name="Jacob, Karen (SPAC/PSPC) (elle-la / she-her)" userId="66e9cce0-e37b-4645-a907-f7690bd68dfb" providerId="ADAL" clId="{871AC57A-6E3B-4D85-BA02-8D6F5065EA89}" dt="2024-06-21T15:26:36.539" v="4689" actId="1076"/>
          <ac:picMkLst>
            <pc:docMk/>
            <pc:sldMk cId="388099589" sldId="4992"/>
            <ac:picMk id="13" creationId="{1BFE9BF1-5E6A-A995-0D24-DB7A9C3633D8}"/>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4:28:43.139" v="2817"/>
              <pc2:cmMkLst xmlns:pc2="http://schemas.microsoft.com/office/powerpoint/2019/9/main/command">
                <pc:docMk/>
                <pc:sldMk cId="388099589" sldId="4992"/>
                <pc2:cmMk id="{58314914-A9CA-416C-8B5D-44370B25C734}"/>
              </pc2:cmMkLst>
            </pc226:cmChg>
            <pc226:cmChg xmlns:pc226="http://schemas.microsoft.com/office/powerpoint/2022/06/main/command" chg="add del">
              <pc226:chgData name="Jacob, Karen (SPAC/PSPC) (elle-la / she-her)" userId="66e9cce0-e37b-4645-a907-f7690bd68dfb" providerId="ADAL" clId="{871AC57A-6E3B-4D85-BA02-8D6F5065EA89}" dt="2024-06-21T14:28:40.698" v="2816"/>
              <pc2:cmMkLst xmlns:pc2="http://schemas.microsoft.com/office/powerpoint/2019/9/main/command">
                <pc:docMk/>
                <pc:sldMk cId="388099589" sldId="4992"/>
                <pc2:cmMk id="{6D9A32E1-5F54-41B1-AAD7-FA271C53AFFB}"/>
              </pc2:cmMkLst>
            </pc226:cmChg>
          </p:ext>
        </pc:extLst>
      </pc:sldChg>
      <pc:sldChg chg="modSp mod modCm">
        <pc:chgData name="Jacob, Karen (SPAC/PSPC) (elle-la / she-her)" userId="66e9cce0-e37b-4645-a907-f7690bd68dfb" providerId="ADAL" clId="{871AC57A-6E3B-4D85-BA02-8D6F5065EA89}" dt="2024-06-21T15:27:52.079" v="4714" actId="20577"/>
        <pc:sldMkLst>
          <pc:docMk/>
          <pc:sldMk cId="3248544414" sldId="4993"/>
        </pc:sldMkLst>
        <pc:spChg chg="mod">
          <ac:chgData name="Jacob, Karen (SPAC/PSPC) (elle-la / she-her)" userId="66e9cce0-e37b-4645-a907-f7690bd68dfb" providerId="ADAL" clId="{871AC57A-6E3B-4D85-BA02-8D6F5065EA89}" dt="2024-06-21T15:27:52.079" v="4714" actId="20577"/>
          <ac:spMkLst>
            <pc:docMk/>
            <pc:sldMk cId="3248544414" sldId="4993"/>
            <ac:spMk id="8" creationId="{96EFBFBE-8CD7-D471-D8B0-8D13BB75ECC5}"/>
          </ac:spMkLst>
        </pc:spChg>
        <pc:spChg chg="mod">
          <ac:chgData name="Jacob, Karen (SPAC/PSPC) (elle-la / she-her)" userId="66e9cce0-e37b-4645-a907-f7690bd68dfb" providerId="ADAL" clId="{871AC57A-6E3B-4D85-BA02-8D6F5065EA89}" dt="2024-06-21T15:27:44.996" v="4712" actId="20577"/>
          <ac:spMkLst>
            <pc:docMk/>
            <pc:sldMk cId="3248544414" sldId="4993"/>
            <ac:spMk id="11" creationId="{3F9CB8D4-6144-CAF9-0CC6-38351C152F7F}"/>
          </ac:spMkLst>
        </pc:spChg>
        <pc:extLst>
          <p:ext xmlns:p="http://schemas.openxmlformats.org/presentationml/2006/main" uri="{D6D511B9-2390-475A-947B-AFAB55BFBCF1}">
            <pc226:cmChg xmlns:pc226="http://schemas.microsoft.com/office/powerpoint/2022/06/main/command" chg="mod">
              <pc226:chgData name="Jacob, Karen (SPAC/PSPC) (elle-la / she-her)" userId="66e9cce0-e37b-4645-a907-f7690bd68dfb" providerId="ADAL" clId="{871AC57A-6E3B-4D85-BA02-8D6F5065EA89}" dt="2024-06-21T15:27:52.079" v="4714" actId="20577"/>
              <pc2:cmMkLst xmlns:pc2="http://schemas.microsoft.com/office/powerpoint/2019/9/main/command">
                <pc:docMk/>
                <pc:sldMk cId="3248544414" sldId="4993"/>
                <pc2:cmMk id="{5A464C9B-BE0B-42A6-A2F8-517F7FBC4DD8}"/>
              </pc2:cmMkLst>
            </pc226:cmChg>
          </p:ext>
        </pc:extLst>
      </pc:sldChg>
      <pc:sldChg chg="addSp delSp modSp mod addCm delCm modCm modNotesTx">
        <pc:chgData name="Jacob, Karen (SPAC/PSPC) (elle-la / she-her)" userId="66e9cce0-e37b-4645-a907-f7690bd68dfb" providerId="ADAL" clId="{871AC57A-6E3B-4D85-BA02-8D6F5065EA89}" dt="2024-07-09T17:24:13.324" v="7149" actId="20577"/>
        <pc:sldMkLst>
          <pc:docMk/>
          <pc:sldMk cId="581567723" sldId="4998"/>
        </pc:sldMkLst>
        <pc:spChg chg="mod">
          <ac:chgData name="Jacob, Karen (SPAC/PSPC) (elle-la / she-her)" userId="66e9cce0-e37b-4645-a907-f7690bd68dfb" providerId="ADAL" clId="{871AC57A-6E3B-4D85-BA02-8D6F5065EA89}" dt="2024-06-21T12:40:45.599" v="325" actId="20577"/>
          <ac:spMkLst>
            <pc:docMk/>
            <pc:sldMk cId="581567723" sldId="4998"/>
            <ac:spMk id="2" creationId="{9DE119AA-C27C-1F93-8533-D6E1F56A43A8}"/>
          </ac:spMkLst>
        </pc:spChg>
        <pc:spChg chg="add mod">
          <ac:chgData name="Jacob, Karen (SPAC/PSPC) (elle-la / she-her)" userId="66e9cce0-e37b-4645-a907-f7690bd68dfb" providerId="ADAL" clId="{871AC57A-6E3B-4D85-BA02-8D6F5065EA89}" dt="2024-07-09T17:24:13.324" v="7149" actId="20577"/>
          <ac:spMkLst>
            <pc:docMk/>
            <pc:sldMk cId="581567723" sldId="4998"/>
            <ac:spMk id="3" creationId="{B4C4C6A1-95F9-4595-D5F9-6FBFE059FF64}"/>
          </ac:spMkLst>
        </pc:spChg>
        <pc:spChg chg="mod">
          <ac:chgData name="Jacob, Karen (SPAC/PSPC) (elle-la / she-her)" userId="66e9cce0-e37b-4645-a907-f7690bd68dfb" providerId="ADAL" clId="{871AC57A-6E3B-4D85-BA02-8D6F5065EA89}" dt="2024-06-04T20:07:42.046" v="65" actId="1076"/>
          <ac:spMkLst>
            <pc:docMk/>
            <pc:sldMk cId="581567723" sldId="4998"/>
            <ac:spMk id="3" creationId="{DCB1C657-83E0-7559-CD35-A0F89A43A85C}"/>
          </ac:spMkLst>
        </pc:spChg>
        <pc:spChg chg="add mod">
          <ac:chgData name="Jacob, Karen (SPAC/PSPC) (elle-la / she-her)" userId="66e9cce0-e37b-4645-a907-f7690bd68dfb" providerId="ADAL" clId="{871AC57A-6E3B-4D85-BA02-8D6F5065EA89}" dt="2024-06-04T20:03:30.484" v="31"/>
          <ac:spMkLst>
            <pc:docMk/>
            <pc:sldMk cId="581567723" sldId="4998"/>
            <ac:spMk id="5" creationId="{D7D606A5-4CCA-4EE2-B0C8-0CA55D765A08}"/>
          </ac:spMkLst>
        </pc:spChg>
        <pc:spChg chg="add mod">
          <ac:chgData name="Jacob, Karen (SPAC/PSPC) (elle-la / she-her)" userId="66e9cce0-e37b-4645-a907-f7690bd68dfb" providerId="ADAL" clId="{871AC57A-6E3B-4D85-BA02-8D6F5065EA89}" dt="2024-06-04T20:03:30.484" v="31"/>
          <ac:spMkLst>
            <pc:docMk/>
            <pc:sldMk cId="581567723" sldId="4998"/>
            <ac:spMk id="6" creationId="{5E7528B7-A946-46F0-B669-8F935D7F6EBA}"/>
          </ac:spMkLst>
        </pc:spChg>
        <pc:spChg chg="add del mod">
          <ac:chgData name="Jacob, Karen (SPAC/PSPC) (elle-la / she-her)" userId="66e9cce0-e37b-4645-a907-f7690bd68dfb" providerId="ADAL" clId="{871AC57A-6E3B-4D85-BA02-8D6F5065EA89}" dt="2024-06-04T20:03:42.424" v="33" actId="478"/>
          <ac:spMkLst>
            <pc:docMk/>
            <pc:sldMk cId="581567723" sldId="4998"/>
            <ac:spMk id="9" creationId="{02102EB1-628A-A228-F405-4E0BAB36D0C8}"/>
          </ac:spMkLst>
        </pc:spChg>
        <pc:spChg chg="add del mod">
          <ac:chgData name="Jacob, Karen (SPAC/PSPC) (elle-la / she-her)" userId="66e9cce0-e37b-4645-a907-f7690bd68dfb" providerId="ADAL" clId="{871AC57A-6E3B-4D85-BA02-8D6F5065EA89}" dt="2024-06-04T20:04:03.767" v="36" actId="478"/>
          <ac:spMkLst>
            <pc:docMk/>
            <pc:sldMk cId="581567723" sldId="4998"/>
            <ac:spMk id="10" creationId="{B7478A55-5DE0-5172-A55E-4C69C69AA1B9}"/>
          </ac:spMkLst>
        </pc:spChg>
        <pc:spChg chg="add mod">
          <ac:chgData name="Jacob, Karen (SPAC/PSPC) (elle-la / she-her)" userId="66e9cce0-e37b-4645-a907-f7690bd68dfb" providerId="ADAL" clId="{871AC57A-6E3B-4D85-BA02-8D6F5065EA89}" dt="2024-06-04T20:03:30.484" v="31"/>
          <ac:spMkLst>
            <pc:docMk/>
            <pc:sldMk cId="581567723" sldId="4998"/>
            <ac:spMk id="11" creationId="{39421339-8C2E-3166-AC3E-6B380BD6625E}"/>
          </ac:spMkLst>
        </pc:spChg>
        <pc:spChg chg="add del mod">
          <ac:chgData name="Jacob, Karen (SPAC/PSPC) (elle-la / she-her)" userId="66e9cce0-e37b-4645-a907-f7690bd68dfb" providerId="ADAL" clId="{871AC57A-6E3B-4D85-BA02-8D6F5065EA89}" dt="2024-06-04T20:03:59.068" v="35" actId="478"/>
          <ac:spMkLst>
            <pc:docMk/>
            <pc:sldMk cId="581567723" sldId="4998"/>
            <ac:spMk id="14" creationId="{241461F9-1C3F-24F1-C320-FF5EC4D96EE1}"/>
          </ac:spMkLst>
        </pc:spChg>
        <pc:spChg chg="add mod">
          <ac:chgData name="Jacob, Karen (SPAC/PSPC) (elle-la / she-her)" userId="66e9cce0-e37b-4645-a907-f7690bd68dfb" providerId="ADAL" clId="{871AC57A-6E3B-4D85-BA02-8D6F5065EA89}" dt="2024-06-04T20:03:30.484" v="31"/>
          <ac:spMkLst>
            <pc:docMk/>
            <pc:sldMk cId="581567723" sldId="4998"/>
            <ac:spMk id="17" creationId="{0181F1B8-8D47-47DE-9BBC-4D892AD996D2}"/>
          </ac:spMkLst>
        </pc:spChg>
        <pc:spChg chg="add mod">
          <ac:chgData name="Jacob, Karen (SPAC/PSPC) (elle-la / she-her)" userId="66e9cce0-e37b-4645-a907-f7690bd68dfb" providerId="ADAL" clId="{871AC57A-6E3B-4D85-BA02-8D6F5065EA89}" dt="2024-06-04T20:03:30.484" v="31"/>
          <ac:spMkLst>
            <pc:docMk/>
            <pc:sldMk cId="581567723" sldId="4998"/>
            <ac:spMk id="19" creationId="{EA3E678B-FB11-4429-813D-6664187F761A}"/>
          </ac:spMkLst>
        </pc:spChg>
        <pc:spChg chg="add mod">
          <ac:chgData name="Jacob, Karen (SPAC/PSPC) (elle-la / she-her)" userId="66e9cce0-e37b-4645-a907-f7690bd68dfb" providerId="ADAL" clId="{871AC57A-6E3B-4D85-BA02-8D6F5065EA89}" dt="2024-06-04T20:03:30.484" v="31"/>
          <ac:spMkLst>
            <pc:docMk/>
            <pc:sldMk cId="581567723" sldId="4998"/>
            <ac:spMk id="20" creationId="{A127293B-B7EF-4C87-938B-96289DEBD946}"/>
          </ac:spMkLst>
        </pc:spChg>
        <pc:spChg chg="add mod">
          <ac:chgData name="Jacob, Karen (SPAC/PSPC) (elle-la / she-her)" userId="66e9cce0-e37b-4645-a907-f7690bd68dfb" providerId="ADAL" clId="{871AC57A-6E3B-4D85-BA02-8D6F5065EA89}" dt="2024-06-04T20:03:30.484" v="31"/>
          <ac:spMkLst>
            <pc:docMk/>
            <pc:sldMk cId="581567723" sldId="4998"/>
            <ac:spMk id="22" creationId="{65CCA3A3-3BED-4876-9368-693E6DE8E80C}"/>
          </ac:spMkLst>
        </pc:spChg>
        <pc:spChg chg="add mod">
          <ac:chgData name="Jacob, Karen (SPAC/PSPC) (elle-la / she-her)" userId="66e9cce0-e37b-4645-a907-f7690bd68dfb" providerId="ADAL" clId="{871AC57A-6E3B-4D85-BA02-8D6F5065EA89}" dt="2024-06-04T20:03:30.484" v="31"/>
          <ac:spMkLst>
            <pc:docMk/>
            <pc:sldMk cId="581567723" sldId="4998"/>
            <ac:spMk id="23" creationId="{D990B6BF-6B95-4759-A584-1E4378D05941}"/>
          </ac:spMkLst>
        </pc:spChg>
        <pc:spChg chg="add mod">
          <ac:chgData name="Jacob, Karen (SPAC/PSPC) (elle-la / she-her)" userId="66e9cce0-e37b-4645-a907-f7690bd68dfb" providerId="ADAL" clId="{871AC57A-6E3B-4D85-BA02-8D6F5065EA89}" dt="2024-06-04T20:03:30.484" v="31"/>
          <ac:spMkLst>
            <pc:docMk/>
            <pc:sldMk cId="581567723" sldId="4998"/>
            <ac:spMk id="24" creationId="{FF95E0F3-F25E-49EB-8648-DD6D21CD77A4}"/>
          </ac:spMkLst>
        </pc:spChg>
        <pc:spChg chg="add mod">
          <ac:chgData name="Jacob, Karen (SPAC/PSPC) (elle-la / she-her)" userId="66e9cce0-e37b-4645-a907-f7690bd68dfb" providerId="ADAL" clId="{871AC57A-6E3B-4D85-BA02-8D6F5065EA89}" dt="2024-06-04T20:03:30.484" v="31"/>
          <ac:spMkLst>
            <pc:docMk/>
            <pc:sldMk cId="581567723" sldId="4998"/>
            <ac:spMk id="25" creationId="{43E9D117-1C24-4004-BB41-96BB8B96428F}"/>
          </ac:spMkLst>
        </pc:spChg>
        <pc:spChg chg="add mod">
          <ac:chgData name="Jacob, Karen (SPAC/PSPC) (elle-la / she-her)" userId="66e9cce0-e37b-4645-a907-f7690bd68dfb" providerId="ADAL" clId="{871AC57A-6E3B-4D85-BA02-8D6F5065EA89}" dt="2024-06-04T20:03:30.484" v="31"/>
          <ac:spMkLst>
            <pc:docMk/>
            <pc:sldMk cId="581567723" sldId="4998"/>
            <ac:spMk id="26" creationId="{3E1F8FA6-C3C0-45B2-8220-60E2BF8F5325}"/>
          </ac:spMkLst>
        </pc:spChg>
        <pc:spChg chg="add mod">
          <ac:chgData name="Jacob, Karen (SPAC/PSPC) (elle-la / she-her)" userId="66e9cce0-e37b-4645-a907-f7690bd68dfb" providerId="ADAL" clId="{871AC57A-6E3B-4D85-BA02-8D6F5065EA89}" dt="2024-06-04T20:03:30.484" v="31"/>
          <ac:spMkLst>
            <pc:docMk/>
            <pc:sldMk cId="581567723" sldId="4998"/>
            <ac:spMk id="27" creationId="{C09524D9-2310-4A6D-9FFA-6148D5908553}"/>
          </ac:spMkLst>
        </pc:spChg>
        <pc:spChg chg="add mod">
          <ac:chgData name="Jacob, Karen (SPAC/PSPC) (elle-la / she-her)" userId="66e9cce0-e37b-4645-a907-f7690bd68dfb" providerId="ADAL" clId="{871AC57A-6E3B-4D85-BA02-8D6F5065EA89}" dt="2024-06-04T20:03:30.484" v="31"/>
          <ac:spMkLst>
            <pc:docMk/>
            <pc:sldMk cId="581567723" sldId="4998"/>
            <ac:spMk id="28" creationId="{D1ABF3EE-DDF1-4928-AEEA-0E9F883BA2D0}"/>
          </ac:spMkLst>
        </pc:spChg>
        <pc:spChg chg="add mod">
          <ac:chgData name="Jacob, Karen (SPAC/PSPC) (elle-la / she-her)" userId="66e9cce0-e37b-4645-a907-f7690bd68dfb" providerId="ADAL" clId="{871AC57A-6E3B-4D85-BA02-8D6F5065EA89}" dt="2024-06-04T20:03:30.484" v="31"/>
          <ac:spMkLst>
            <pc:docMk/>
            <pc:sldMk cId="581567723" sldId="4998"/>
            <ac:spMk id="29" creationId="{1A31775B-8F18-4E3A-93BE-A05FF347D231}"/>
          </ac:spMkLst>
        </pc:spChg>
        <pc:spChg chg="add mod">
          <ac:chgData name="Jacob, Karen (SPAC/PSPC) (elle-la / she-her)" userId="66e9cce0-e37b-4645-a907-f7690bd68dfb" providerId="ADAL" clId="{871AC57A-6E3B-4D85-BA02-8D6F5065EA89}" dt="2024-06-04T20:03:30.484" v="31"/>
          <ac:spMkLst>
            <pc:docMk/>
            <pc:sldMk cId="581567723" sldId="4998"/>
            <ac:spMk id="30" creationId="{75E9AAB8-EA66-4102-AF27-F77BCADBA375}"/>
          </ac:spMkLst>
        </pc:spChg>
        <pc:spChg chg="add mod">
          <ac:chgData name="Jacob, Karen (SPAC/PSPC) (elle-la / she-her)" userId="66e9cce0-e37b-4645-a907-f7690bd68dfb" providerId="ADAL" clId="{871AC57A-6E3B-4D85-BA02-8D6F5065EA89}" dt="2024-06-04T20:03:30.484" v="31"/>
          <ac:spMkLst>
            <pc:docMk/>
            <pc:sldMk cId="581567723" sldId="4998"/>
            <ac:spMk id="31" creationId="{41B99211-FD43-4964-A27C-6BBA5F5109CB}"/>
          </ac:spMkLst>
        </pc:spChg>
        <pc:spChg chg="add mod">
          <ac:chgData name="Jacob, Karen (SPAC/PSPC) (elle-la / she-her)" userId="66e9cce0-e37b-4645-a907-f7690bd68dfb" providerId="ADAL" clId="{871AC57A-6E3B-4D85-BA02-8D6F5065EA89}" dt="2024-06-04T20:03:30.484" v="31"/>
          <ac:spMkLst>
            <pc:docMk/>
            <pc:sldMk cId="581567723" sldId="4998"/>
            <ac:spMk id="32" creationId="{99309AC4-1DCF-44A4-A5CC-AABB0F647385}"/>
          </ac:spMkLst>
        </pc:spChg>
        <pc:spChg chg="add mod">
          <ac:chgData name="Jacob, Karen (SPAC/PSPC) (elle-la / she-her)" userId="66e9cce0-e37b-4645-a907-f7690bd68dfb" providerId="ADAL" clId="{871AC57A-6E3B-4D85-BA02-8D6F5065EA89}" dt="2024-06-04T20:03:30.484" v="31"/>
          <ac:spMkLst>
            <pc:docMk/>
            <pc:sldMk cId="581567723" sldId="4998"/>
            <ac:spMk id="33" creationId="{B8C0259E-6523-467A-ADC1-8C71B6BF418C}"/>
          </ac:spMkLst>
        </pc:spChg>
        <pc:spChg chg="add mod">
          <ac:chgData name="Jacob, Karen (SPAC/PSPC) (elle-la / she-her)" userId="66e9cce0-e37b-4645-a907-f7690bd68dfb" providerId="ADAL" clId="{871AC57A-6E3B-4D85-BA02-8D6F5065EA89}" dt="2024-06-04T20:03:30.484" v="31"/>
          <ac:spMkLst>
            <pc:docMk/>
            <pc:sldMk cId="581567723" sldId="4998"/>
            <ac:spMk id="34" creationId="{23E4D2D6-EA40-4D69-91E9-C8BD2077BAB1}"/>
          </ac:spMkLst>
        </pc:spChg>
        <pc:spChg chg="add mod">
          <ac:chgData name="Jacob, Karen (SPAC/PSPC) (elle-la / she-her)" userId="66e9cce0-e37b-4645-a907-f7690bd68dfb" providerId="ADAL" clId="{871AC57A-6E3B-4D85-BA02-8D6F5065EA89}" dt="2024-06-04T20:03:30.484" v="31"/>
          <ac:spMkLst>
            <pc:docMk/>
            <pc:sldMk cId="581567723" sldId="4998"/>
            <ac:spMk id="35" creationId="{A48CBE16-158E-4804-806F-06E593C33533}"/>
          </ac:spMkLst>
        </pc:spChg>
        <pc:spChg chg="add mod">
          <ac:chgData name="Jacob, Karen (SPAC/PSPC) (elle-la / she-her)" userId="66e9cce0-e37b-4645-a907-f7690bd68dfb" providerId="ADAL" clId="{871AC57A-6E3B-4D85-BA02-8D6F5065EA89}" dt="2024-06-04T20:03:30.484" v="31"/>
          <ac:spMkLst>
            <pc:docMk/>
            <pc:sldMk cId="581567723" sldId="4998"/>
            <ac:spMk id="36" creationId="{2E8F8949-C333-4D2F-9EA4-6C7C28383021}"/>
          </ac:spMkLst>
        </pc:spChg>
        <pc:spChg chg="add mod">
          <ac:chgData name="Jacob, Karen (SPAC/PSPC) (elle-la / she-her)" userId="66e9cce0-e37b-4645-a907-f7690bd68dfb" providerId="ADAL" clId="{871AC57A-6E3B-4D85-BA02-8D6F5065EA89}" dt="2024-06-04T20:03:30.484" v="31"/>
          <ac:spMkLst>
            <pc:docMk/>
            <pc:sldMk cId="581567723" sldId="4998"/>
            <ac:spMk id="37" creationId="{A8539B96-75E4-4E3D-A09A-1BC3EC435F3A}"/>
          </ac:spMkLst>
        </pc:spChg>
        <pc:spChg chg="add mod">
          <ac:chgData name="Jacob, Karen (SPAC/PSPC) (elle-la / she-her)" userId="66e9cce0-e37b-4645-a907-f7690bd68dfb" providerId="ADAL" clId="{871AC57A-6E3B-4D85-BA02-8D6F5065EA89}" dt="2024-06-04T20:03:30.484" v="31"/>
          <ac:spMkLst>
            <pc:docMk/>
            <pc:sldMk cId="581567723" sldId="4998"/>
            <ac:spMk id="38" creationId="{44CC609C-D6D7-4BEC-96C1-7C6A98B6DD9C}"/>
          </ac:spMkLst>
        </pc:spChg>
        <pc:spChg chg="add mod">
          <ac:chgData name="Jacob, Karen (SPAC/PSPC) (elle-la / she-her)" userId="66e9cce0-e37b-4645-a907-f7690bd68dfb" providerId="ADAL" clId="{871AC57A-6E3B-4D85-BA02-8D6F5065EA89}" dt="2024-06-04T20:03:30.484" v="31"/>
          <ac:spMkLst>
            <pc:docMk/>
            <pc:sldMk cId="581567723" sldId="4998"/>
            <ac:spMk id="39" creationId="{EAD81601-64DF-4625-9203-D95121D131A5}"/>
          </ac:spMkLst>
        </pc:spChg>
        <pc:spChg chg="add mod">
          <ac:chgData name="Jacob, Karen (SPAC/PSPC) (elle-la / she-her)" userId="66e9cce0-e37b-4645-a907-f7690bd68dfb" providerId="ADAL" clId="{871AC57A-6E3B-4D85-BA02-8D6F5065EA89}" dt="2024-06-04T20:03:30.484" v="31"/>
          <ac:spMkLst>
            <pc:docMk/>
            <pc:sldMk cId="581567723" sldId="4998"/>
            <ac:spMk id="40" creationId="{162B74FF-8D9E-4AA2-8499-2A6877C548D7}"/>
          </ac:spMkLst>
        </pc:spChg>
        <pc:spChg chg="add mod">
          <ac:chgData name="Jacob, Karen (SPAC/PSPC) (elle-la / she-her)" userId="66e9cce0-e37b-4645-a907-f7690bd68dfb" providerId="ADAL" clId="{871AC57A-6E3B-4D85-BA02-8D6F5065EA89}" dt="2024-06-04T20:03:30.484" v="31"/>
          <ac:spMkLst>
            <pc:docMk/>
            <pc:sldMk cId="581567723" sldId="4998"/>
            <ac:spMk id="41" creationId="{4D8D6572-3333-4489-909A-4944965A0F50}"/>
          </ac:spMkLst>
        </pc:spChg>
        <pc:spChg chg="add mod">
          <ac:chgData name="Jacob, Karen (SPAC/PSPC) (elle-la / she-her)" userId="66e9cce0-e37b-4645-a907-f7690bd68dfb" providerId="ADAL" clId="{871AC57A-6E3B-4D85-BA02-8D6F5065EA89}" dt="2024-06-04T20:03:30.484" v="31"/>
          <ac:spMkLst>
            <pc:docMk/>
            <pc:sldMk cId="581567723" sldId="4998"/>
            <ac:spMk id="42" creationId="{921D4106-686A-4FB6-804B-BE4034670D82}"/>
          </ac:spMkLst>
        </pc:spChg>
        <pc:spChg chg="add mod">
          <ac:chgData name="Jacob, Karen (SPAC/PSPC) (elle-la / she-her)" userId="66e9cce0-e37b-4645-a907-f7690bd68dfb" providerId="ADAL" clId="{871AC57A-6E3B-4D85-BA02-8D6F5065EA89}" dt="2024-06-04T20:03:30.484" v="31"/>
          <ac:spMkLst>
            <pc:docMk/>
            <pc:sldMk cId="581567723" sldId="4998"/>
            <ac:spMk id="43" creationId="{7606B248-DA4E-416F-86F7-25423084CC07}"/>
          </ac:spMkLst>
        </pc:spChg>
        <pc:spChg chg="add mod">
          <ac:chgData name="Jacob, Karen (SPAC/PSPC) (elle-la / she-her)" userId="66e9cce0-e37b-4645-a907-f7690bd68dfb" providerId="ADAL" clId="{871AC57A-6E3B-4D85-BA02-8D6F5065EA89}" dt="2024-06-04T20:03:30.484" v="31"/>
          <ac:spMkLst>
            <pc:docMk/>
            <pc:sldMk cId="581567723" sldId="4998"/>
            <ac:spMk id="44" creationId="{3B2BE8E2-BF4F-4F10-A745-063B5F0B58FF}"/>
          </ac:spMkLst>
        </pc:spChg>
        <pc:spChg chg="add mod">
          <ac:chgData name="Jacob, Karen (SPAC/PSPC) (elle-la / she-her)" userId="66e9cce0-e37b-4645-a907-f7690bd68dfb" providerId="ADAL" clId="{871AC57A-6E3B-4D85-BA02-8D6F5065EA89}" dt="2024-06-04T20:03:30.484" v="31"/>
          <ac:spMkLst>
            <pc:docMk/>
            <pc:sldMk cId="581567723" sldId="4998"/>
            <ac:spMk id="45" creationId="{C27EF6FC-A108-41B5-ADF0-5CBA42BBCFC0}"/>
          </ac:spMkLst>
        </pc:spChg>
        <pc:spChg chg="add mod">
          <ac:chgData name="Jacob, Karen (SPAC/PSPC) (elle-la / she-her)" userId="66e9cce0-e37b-4645-a907-f7690bd68dfb" providerId="ADAL" clId="{871AC57A-6E3B-4D85-BA02-8D6F5065EA89}" dt="2024-06-04T20:03:30.484" v="31"/>
          <ac:spMkLst>
            <pc:docMk/>
            <pc:sldMk cId="581567723" sldId="4998"/>
            <ac:spMk id="46" creationId="{89E4AC49-96D4-4509-969E-30807EE6796F}"/>
          </ac:spMkLst>
        </pc:spChg>
        <pc:spChg chg="add mod">
          <ac:chgData name="Jacob, Karen (SPAC/PSPC) (elle-la / she-her)" userId="66e9cce0-e37b-4645-a907-f7690bd68dfb" providerId="ADAL" clId="{871AC57A-6E3B-4D85-BA02-8D6F5065EA89}" dt="2024-06-04T20:03:30.484" v="31"/>
          <ac:spMkLst>
            <pc:docMk/>
            <pc:sldMk cId="581567723" sldId="4998"/>
            <ac:spMk id="47" creationId="{1185DB12-E95A-4255-8EE5-35584E3DA745}"/>
          </ac:spMkLst>
        </pc:spChg>
        <pc:spChg chg="add mod">
          <ac:chgData name="Jacob, Karen (SPAC/PSPC) (elle-la / she-her)" userId="66e9cce0-e37b-4645-a907-f7690bd68dfb" providerId="ADAL" clId="{871AC57A-6E3B-4D85-BA02-8D6F5065EA89}" dt="2024-06-04T20:03:30.484" v="31"/>
          <ac:spMkLst>
            <pc:docMk/>
            <pc:sldMk cId="581567723" sldId="4998"/>
            <ac:spMk id="48" creationId="{2ECFBB9C-AE77-451F-8F9F-25AF9A2A590A}"/>
          </ac:spMkLst>
        </pc:spChg>
        <pc:spChg chg="add mod">
          <ac:chgData name="Jacob, Karen (SPAC/PSPC) (elle-la / she-her)" userId="66e9cce0-e37b-4645-a907-f7690bd68dfb" providerId="ADAL" clId="{871AC57A-6E3B-4D85-BA02-8D6F5065EA89}" dt="2024-06-04T20:03:30.484" v="31"/>
          <ac:spMkLst>
            <pc:docMk/>
            <pc:sldMk cId="581567723" sldId="4998"/>
            <ac:spMk id="49" creationId="{F2B34AE5-3B17-4706-B49D-02C6E196CE55}"/>
          </ac:spMkLst>
        </pc:spChg>
        <pc:spChg chg="add mod">
          <ac:chgData name="Jacob, Karen (SPAC/PSPC) (elle-la / she-her)" userId="66e9cce0-e37b-4645-a907-f7690bd68dfb" providerId="ADAL" clId="{871AC57A-6E3B-4D85-BA02-8D6F5065EA89}" dt="2024-06-04T20:03:30.484" v="31"/>
          <ac:spMkLst>
            <pc:docMk/>
            <pc:sldMk cId="581567723" sldId="4998"/>
            <ac:spMk id="50" creationId="{4ED6E4AA-D2B8-441E-8CC1-223AACCB7FD6}"/>
          </ac:spMkLst>
        </pc:spChg>
        <pc:spChg chg="add mod">
          <ac:chgData name="Jacob, Karen (SPAC/PSPC) (elle-la / she-her)" userId="66e9cce0-e37b-4645-a907-f7690bd68dfb" providerId="ADAL" clId="{871AC57A-6E3B-4D85-BA02-8D6F5065EA89}" dt="2024-06-04T20:03:30.484" v="31"/>
          <ac:spMkLst>
            <pc:docMk/>
            <pc:sldMk cId="581567723" sldId="4998"/>
            <ac:spMk id="51" creationId="{9DA5077E-878F-48CD-ADDF-BAFF6FDE7934}"/>
          </ac:spMkLst>
        </pc:spChg>
        <pc:spChg chg="add mod">
          <ac:chgData name="Jacob, Karen (SPAC/PSPC) (elle-la / she-her)" userId="66e9cce0-e37b-4645-a907-f7690bd68dfb" providerId="ADAL" clId="{871AC57A-6E3B-4D85-BA02-8D6F5065EA89}" dt="2024-06-04T20:03:30.484" v="31"/>
          <ac:spMkLst>
            <pc:docMk/>
            <pc:sldMk cId="581567723" sldId="4998"/>
            <ac:spMk id="52" creationId="{6EE41B9D-7B98-4101-A24E-05191AB21983}"/>
          </ac:spMkLst>
        </pc:spChg>
        <pc:spChg chg="add mod">
          <ac:chgData name="Jacob, Karen (SPAC/PSPC) (elle-la / she-her)" userId="66e9cce0-e37b-4645-a907-f7690bd68dfb" providerId="ADAL" clId="{871AC57A-6E3B-4D85-BA02-8D6F5065EA89}" dt="2024-06-04T20:03:30.484" v="31"/>
          <ac:spMkLst>
            <pc:docMk/>
            <pc:sldMk cId="581567723" sldId="4998"/>
            <ac:spMk id="53" creationId="{A32E3089-F261-4F9B-8BDF-4824025FBEE3}"/>
          </ac:spMkLst>
        </pc:spChg>
        <pc:spChg chg="add mod">
          <ac:chgData name="Jacob, Karen (SPAC/PSPC) (elle-la / she-her)" userId="66e9cce0-e37b-4645-a907-f7690bd68dfb" providerId="ADAL" clId="{871AC57A-6E3B-4D85-BA02-8D6F5065EA89}" dt="2024-06-04T20:03:30.484" v="31"/>
          <ac:spMkLst>
            <pc:docMk/>
            <pc:sldMk cId="581567723" sldId="4998"/>
            <ac:spMk id="54" creationId="{93379D55-25BB-4E20-9C69-F3E91B579276}"/>
          </ac:spMkLst>
        </pc:spChg>
        <pc:spChg chg="add mod">
          <ac:chgData name="Jacob, Karen (SPAC/PSPC) (elle-la / she-her)" userId="66e9cce0-e37b-4645-a907-f7690bd68dfb" providerId="ADAL" clId="{871AC57A-6E3B-4D85-BA02-8D6F5065EA89}" dt="2024-06-04T20:03:30.484" v="31"/>
          <ac:spMkLst>
            <pc:docMk/>
            <pc:sldMk cId="581567723" sldId="4998"/>
            <ac:spMk id="55" creationId="{21AD4492-6F3E-4EFE-9119-9870FE981287}"/>
          </ac:spMkLst>
        </pc:spChg>
        <pc:spChg chg="add mod">
          <ac:chgData name="Jacob, Karen (SPAC/PSPC) (elle-la / she-her)" userId="66e9cce0-e37b-4645-a907-f7690bd68dfb" providerId="ADAL" clId="{871AC57A-6E3B-4D85-BA02-8D6F5065EA89}" dt="2024-06-04T20:03:30.484" v="31"/>
          <ac:spMkLst>
            <pc:docMk/>
            <pc:sldMk cId="581567723" sldId="4998"/>
            <ac:spMk id="56" creationId="{6F100376-2624-4828-BC1F-CBA454FF8022}"/>
          </ac:spMkLst>
        </pc:spChg>
        <pc:spChg chg="add mod">
          <ac:chgData name="Jacob, Karen (SPAC/PSPC) (elle-la / she-her)" userId="66e9cce0-e37b-4645-a907-f7690bd68dfb" providerId="ADAL" clId="{871AC57A-6E3B-4D85-BA02-8D6F5065EA89}" dt="2024-06-04T20:03:30.484" v="31"/>
          <ac:spMkLst>
            <pc:docMk/>
            <pc:sldMk cId="581567723" sldId="4998"/>
            <ac:spMk id="57" creationId="{80A262A4-7EF9-499E-9EDD-D9838469D4D3}"/>
          </ac:spMkLst>
        </pc:spChg>
        <pc:spChg chg="add mod">
          <ac:chgData name="Jacob, Karen (SPAC/PSPC) (elle-la / she-her)" userId="66e9cce0-e37b-4645-a907-f7690bd68dfb" providerId="ADAL" clId="{871AC57A-6E3B-4D85-BA02-8D6F5065EA89}" dt="2024-06-04T20:03:30.484" v="31"/>
          <ac:spMkLst>
            <pc:docMk/>
            <pc:sldMk cId="581567723" sldId="4998"/>
            <ac:spMk id="58" creationId="{A44BB57E-3002-47D8-BD55-BF5AC0D05A39}"/>
          </ac:spMkLst>
        </pc:spChg>
        <pc:spChg chg="add mod">
          <ac:chgData name="Jacob, Karen (SPAC/PSPC) (elle-la / she-her)" userId="66e9cce0-e37b-4645-a907-f7690bd68dfb" providerId="ADAL" clId="{871AC57A-6E3B-4D85-BA02-8D6F5065EA89}" dt="2024-06-04T20:03:30.484" v="31"/>
          <ac:spMkLst>
            <pc:docMk/>
            <pc:sldMk cId="581567723" sldId="4998"/>
            <ac:spMk id="59" creationId="{78D74931-8E46-486A-8DF0-AA86B9A0C6CD}"/>
          </ac:spMkLst>
        </pc:spChg>
        <pc:spChg chg="add mod">
          <ac:chgData name="Jacob, Karen (SPAC/PSPC) (elle-la / she-her)" userId="66e9cce0-e37b-4645-a907-f7690bd68dfb" providerId="ADAL" clId="{871AC57A-6E3B-4D85-BA02-8D6F5065EA89}" dt="2024-06-04T20:03:30.484" v="31"/>
          <ac:spMkLst>
            <pc:docMk/>
            <pc:sldMk cId="581567723" sldId="4998"/>
            <ac:spMk id="60" creationId="{CBE232AF-E8F5-43EE-9D6F-2106B6F2DCBC}"/>
          </ac:spMkLst>
        </pc:spChg>
        <pc:spChg chg="add mod">
          <ac:chgData name="Jacob, Karen (SPAC/PSPC) (elle-la / she-her)" userId="66e9cce0-e37b-4645-a907-f7690bd68dfb" providerId="ADAL" clId="{871AC57A-6E3B-4D85-BA02-8D6F5065EA89}" dt="2024-06-04T20:03:30.484" v="31"/>
          <ac:spMkLst>
            <pc:docMk/>
            <pc:sldMk cId="581567723" sldId="4998"/>
            <ac:spMk id="61" creationId="{59F04C32-5770-46E5-956B-F7A1BDBFA0BF}"/>
          </ac:spMkLst>
        </pc:spChg>
        <pc:spChg chg="add mod">
          <ac:chgData name="Jacob, Karen (SPAC/PSPC) (elle-la / she-her)" userId="66e9cce0-e37b-4645-a907-f7690bd68dfb" providerId="ADAL" clId="{871AC57A-6E3B-4D85-BA02-8D6F5065EA89}" dt="2024-06-04T20:03:30.484" v="31"/>
          <ac:spMkLst>
            <pc:docMk/>
            <pc:sldMk cId="581567723" sldId="4998"/>
            <ac:spMk id="62" creationId="{062E8B16-D8E6-4031-BDB2-A45F2A273A87}"/>
          </ac:spMkLst>
        </pc:spChg>
        <pc:spChg chg="add mod">
          <ac:chgData name="Jacob, Karen (SPAC/PSPC) (elle-la / she-her)" userId="66e9cce0-e37b-4645-a907-f7690bd68dfb" providerId="ADAL" clId="{871AC57A-6E3B-4D85-BA02-8D6F5065EA89}" dt="2024-06-04T20:03:30.484" v="31"/>
          <ac:spMkLst>
            <pc:docMk/>
            <pc:sldMk cId="581567723" sldId="4998"/>
            <ac:spMk id="63" creationId="{EBEA076D-66E7-4312-9FD4-88570722AE89}"/>
          </ac:spMkLst>
        </pc:spChg>
        <pc:spChg chg="add mod">
          <ac:chgData name="Jacob, Karen (SPAC/PSPC) (elle-la / she-her)" userId="66e9cce0-e37b-4645-a907-f7690bd68dfb" providerId="ADAL" clId="{871AC57A-6E3B-4D85-BA02-8D6F5065EA89}" dt="2024-06-04T20:03:30.484" v="31"/>
          <ac:spMkLst>
            <pc:docMk/>
            <pc:sldMk cId="581567723" sldId="4998"/>
            <ac:spMk id="64" creationId="{46C82F6E-91C2-46A9-8173-AF878332D02F}"/>
          </ac:spMkLst>
        </pc:spChg>
        <pc:spChg chg="add mod">
          <ac:chgData name="Jacob, Karen (SPAC/PSPC) (elle-la / she-her)" userId="66e9cce0-e37b-4645-a907-f7690bd68dfb" providerId="ADAL" clId="{871AC57A-6E3B-4D85-BA02-8D6F5065EA89}" dt="2024-06-04T20:03:30.484" v="31"/>
          <ac:spMkLst>
            <pc:docMk/>
            <pc:sldMk cId="581567723" sldId="4998"/>
            <ac:spMk id="67" creationId="{2D3CFA98-F16B-4B1A-9E8F-5FF76EA83AA2}"/>
          </ac:spMkLst>
        </pc:spChg>
        <pc:spChg chg="add mod">
          <ac:chgData name="Jacob, Karen (SPAC/PSPC) (elle-la / she-her)" userId="66e9cce0-e37b-4645-a907-f7690bd68dfb" providerId="ADAL" clId="{871AC57A-6E3B-4D85-BA02-8D6F5065EA89}" dt="2024-06-04T20:03:30.484" v="31"/>
          <ac:spMkLst>
            <pc:docMk/>
            <pc:sldMk cId="581567723" sldId="4998"/>
            <ac:spMk id="69" creationId="{B95952AE-A94E-4A80-ABE5-FC368A7D0E4C}"/>
          </ac:spMkLst>
        </pc:spChg>
        <pc:spChg chg="add mod">
          <ac:chgData name="Jacob, Karen (SPAC/PSPC) (elle-la / she-her)" userId="66e9cce0-e37b-4645-a907-f7690bd68dfb" providerId="ADAL" clId="{871AC57A-6E3B-4D85-BA02-8D6F5065EA89}" dt="2024-06-04T20:03:30.484" v="31"/>
          <ac:spMkLst>
            <pc:docMk/>
            <pc:sldMk cId="581567723" sldId="4998"/>
            <ac:spMk id="70" creationId="{9A471853-C0D8-4803-8315-A237E4335AD6}"/>
          </ac:spMkLst>
        </pc:spChg>
        <pc:spChg chg="add mod">
          <ac:chgData name="Jacob, Karen (SPAC/PSPC) (elle-la / she-her)" userId="66e9cce0-e37b-4645-a907-f7690bd68dfb" providerId="ADAL" clId="{871AC57A-6E3B-4D85-BA02-8D6F5065EA89}" dt="2024-06-04T20:03:30.484" v="31"/>
          <ac:spMkLst>
            <pc:docMk/>
            <pc:sldMk cId="581567723" sldId="4998"/>
            <ac:spMk id="72" creationId="{787836AF-CB7F-4DCA-9A4C-14B80DE615B6}"/>
          </ac:spMkLst>
        </pc:spChg>
        <pc:spChg chg="add mod">
          <ac:chgData name="Jacob, Karen (SPAC/PSPC) (elle-la / she-her)" userId="66e9cce0-e37b-4645-a907-f7690bd68dfb" providerId="ADAL" clId="{871AC57A-6E3B-4D85-BA02-8D6F5065EA89}" dt="2024-06-04T20:03:30.484" v="31"/>
          <ac:spMkLst>
            <pc:docMk/>
            <pc:sldMk cId="581567723" sldId="4998"/>
            <ac:spMk id="73" creationId="{747AC0A7-029F-4F71-8E6D-B5151ABC2B6C}"/>
          </ac:spMkLst>
        </pc:spChg>
        <pc:spChg chg="add mod">
          <ac:chgData name="Jacob, Karen (SPAC/PSPC) (elle-la / she-her)" userId="66e9cce0-e37b-4645-a907-f7690bd68dfb" providerId="ADAL" clId="{871AC57A-6E3B-4D85-BA02-8D6F5065EA89}" dt="2024-06-04T20:03:30.484" v="31"/>
          <ac:spMkLst>
            <pc:docMk/>
            <pc:sldMk cId="581567723" sldId="4998"/>
            <ac:spMk id="74" creationId="{ABB43429-0988-4CC3-B38B-4DCD0150BD45}"/>
          </ac:spMkLst>
        </pc:spChg>
        <pc:spChg chg="add mod">
          <ac:chgData name="Jacob, Karen (SPAC/PSPC) (elle-la / she-her)" userId="66e9cce0-e37b-4645-a907-f7690bd68dfb" providerId="ADAL" clId="{871AC57A-6E3B-4D85-BA02-8D6F5065EA89}" dt="2024-06-04T20:03:30.484" v="31"/>
          <ac:spMkLst>
            <pc:docMk/>
            <pc:sldMk cId="581567723" sldId="4998"/>
            <ac:spMk id="75" creationId="{B81C9F5F-C858-43F5-BF82-1E8F90C6C018}"/>
          </ac:spMkLst>
        </pc:spChg>
        <pc:spChg chg="add mod">
          <ac:chgData name="Jacob, Karen (SPAC/PSPC) (elle-la / she-her)" userId="66e9cce0-e37b-4645-a907-f7690bd68dfb" providerId="ADAL" clId="{871AC57A-6E3B-4D85-BA02-8D6F5065EA89}" dt="2024-06-04T20:03:30.484" v="31"/>
          <ac:spMkLst>
            <pc:docMk/>
            <pc:sldMk cId="581567723" sldId="4998"/>
            <ac:spMk id="76" creationId="{4226700E-4345-4ED4-8920-2F21B52090C7}"/>
          </ac:spMkLst>
        </pc:spChg>
        <pc:spChg chg="add mod">
          <ac:chgData name="Jacob, Karen (SPAC/PSPC) (elle-la / she-her)" userId="66e9cce0-e37b-4645-a907-f7690bd68dfb" providerId="ADAL" clId="{871AC57A-6E3B-4D85-BA02-8D6F5065EA89}" dt="2024-06-04T20:03:30.484" v="31"/>
          <ac:spMkLst>
            <pc:docMk/>
            <pc:sldMk cId="581567723" sldId="4998"/>
            <ac:spMk id="77" creationId="{66E6A198-9270-4B79-87C4-2A07C3A33F1A}"/>
          </ac:spMkLst>
        </pc:spChg>
        <pc:spChg chg="add mod">
          <ac:chgData name="Jacob, Karen (SPAC/PSPC) (elle-la / she-her)" userId="66e9cce0-e37b-4645-a907-f7690bd68dfb" providerId="ADAL" clId="{871AC57A-6E3B-4D85-BA02-8D6F5065EA89}" dt="2024-06-04T20:03:30.484" v="31"/>
          <ac:spMkLst>
            <pc:docMk/>
            <pc:sldMk cId="581567723" sldId="4998"/>
            <ac:spMk id="78" creationId="{7A19E42C-7367-4909-B2D2-819BFA8A1CF0}"/>
          </ac:spMkLst>
        </pc:spChg>
        <pc:spChg chg="add mod">
          <ac:chgData name="Jacob, Karen (SPAC/PSPC) (elle-la / she-her)" userId="66e9cce0-e37b-4645-a907-f7690bd68dfb" providerId="ADAL" clId="{871AC57A-6E3B-4D85-BA02-8D6F5065EA89}" dt="2024-06-04T20:03:30.484" v="31"/>
          <ac:spMkLst>
            <pc:docMk/>
            <pc:sldMk cId="581567723" sldId="4998"/>
            <ac:spMk id="79" creationId="{E406B097-E498-4008-A550-D5BD821E3B7C}"/>
          </ac:spMkLst>
        </pc:spChg>
        <pc:spChg chg="add mod">
          <ac:chgData name="Jacob, Karen (SPAC/PSPC) (elle-la / she-her)" userId="66e9cce0-e37b-4645-a907-f7690bd68dfb" providerId="ADAL" clId="{871AC57A-6E3B-4D85-BA02-8D6F5065EA89}" dt="2024-06-04T20:03:30.484" v="31"/>
          <ac:spMkLst>
            <pc:docMk/>
            <pc:sldMk cId="581567723" sldId="4998"/>
            <ac:spMk id="80" creationId="{BF89B148-7DCE-4E81-8398-CFA5788A87F9}"/>
          </ac:spMkLst>
        </pc:spChg>
        <pc:spChg chg="add mod">
          <ac:chgData name="Jacob, Karen (SPAC/PSPC) (elle-la / she-her)" userId="66e9cce0-e37b-4645-a907-f7690bd68dfb" providerId="ADAL" clId="{871AC57A-6E3B-4D85-BA02-8D6F5065EA89}" dt="2024-06-04T20:03:30.484" v="31"/>
          <ac:spMkLst>
            <pc:docMk/>
            <pc:sldMk cId="581567723" sldId="4998"/>
            <ac:spMk id="81" creationId="{1D949E83-0FCC-43CF-BB15-E807E2B777B5}"/>
          </ac:spMkLst>
        </pc:spChg>
        <pc:spChg chg="add mod">
          <ac:chgData name="Jacob, Karen (SPAC/PSPC) (elle-la / she-her)" userId="66e9cce0-e37b-4645-a907-f7690bd68dfb" providerId="ADAL" clId="{871AC57A-6E3B-4D85-BA02-8D6F5065EA89}" dt="2024-06-04T20:03:30.484" v="31"/>
          <ac:spMkLst>
            <pc:docMk/>
            <pc:sldMk cId="581567723" sldId="4998"/>
            <ac:spMk id="82" creationId="{52EE5E96-C135-4CA3-BC1F-6071300D209B}"/>
          </ac:spMkLst>
        </pc:spChg>
        <pc:spChg chg="add mod">
          <ac:chgData name="Jacob, Karen (SPAC/PSPC) (elle-la / she-her)" userId="66e9cce0-e37b-4645-a907-f7690bd68dfb" providerId="ADAL" clId="{871AC57A-6E3B-4D85-BA02-8D6F5065EA89}" dt="2024-06-04T20:03:30.484" v="31"/>
          <ac:spMkLst>
            <pc:docMk/>
            <pc:sldMk cId="581567723" sldId="4998"/>
            <ac:spMk id="83" creationId="{205DBE0E-F471-4F86-9177-8B217D85906C}"/>
          </ac:spMkLst>
        </pc:spChg>
        <pc:spChg chg="add mod">
          <ac:chgData name="Jacob, Karen (SPAC/PSPC) (elle-la / she-her)" userId="66e9cce0-e37b-4645-a907-f7690bd68dfb" providerId="ADAL" clId="{871AC57A-6E3B-4D85-BA02-8D6F5065EA89}" dt="2024-06-04T20:03:30.484" v="31"/>
          <ac:spMkLst>
            <pc:docMk/>
            <pc:sldMk cId="581567723" sldId="4998"/>
            <ac:spMk id="84" creationId="{291B7CCB-9A66-4F40-AF70-918C867DA230}"/>
          </ac:spMkLst>
        </pc:spChg>
        <pc:spChg chg="add mod">
          <ac:chgData name="Jacob, Karen (SPAC/PSPC) (elle-la / she-her)" userId="66e9cce0-e37b-4645-a907-f7690bd68dfb" providerId="ADAL" clId="{871AC57A-6E3B-4D85-BA02-8D6F5065EA89}" dt="2024-06-04T20:03:30.484" v="31"/>
          <ac:spMkLst>
            <pc:docMk/>
            <pc:sldMk cId="581567723" sldId="4998"/>
            <ac:spMk id="85" creationId="{AF84519F-0296-46EC-927A-6E8E75F115F2}"/>
          </ac:spMkLst>
        </pc:spChg>
        <pc:spChg chg="add mod">
          <ac:chgData name="Jacob, Karen (SPAC/PSPC) (elle-la / she-her)" userId="66e9cce0-e37b-4645-a907-f7690bd68dfb" providerId="ADAL" clId="{871AC57A-6E3B-4D85-BA02-8D6F5065EA89}" dt="2024-06-04T20:03:30.484" v="31"/>
          <ac:spMkLst>
            <pc:docMk/>
            <pc:sldMk cId="581567723" sldId="4998"/>
            <ac:spMk id="86" creationId="{02D65085-DD4A-475B-A055-7AD1E83E702F}"/>
          </ac:spMkLst>
        </pc:spChg>
        <pc:spChg chg="add mod">
          <ac:chgData name="Jacob, Karen (SPAC/PSPC) (elle-la / she-her)" userId="66e9cce0-e37b-4645-a907-f7690bd68dfb" providerId="ADAL" clId="{871AC57A-6E3B-4D85-BA02-8D6F5065EA89}" dt="2024-06-04T20:03:30.484" v="31"/>
          <ac:spMkLst>
            <pc:docMk/>
            <pc:sldMk cId="581567723" sldId="4998"/>
            <ac:spMk id="87" creationId="{0D79E2BB-6DF6-4A55-A6F4-F580465F5743}"/>
          </ac:spMkLst>
        </pc:spChg>
        <pc:spChg chg="add mod">
          <ac:chgData name="Jacob, Karen (SPAC/PSPC) (elle-la / she-her)" userId="66e9cce0-e37b-4645-a907-f7690bd68dfb" providerId="ADAL" clId="{871AC57A-6E3B-4D85-BA02-8D6F5065EA89}" dt="2024-06-04T20:03:30.484" v="31"/>
          <ac:spMkLst>
            <pc:docMk/>
            <pc:sldMk cId="581567723" sldId="4998"/>
            <ac:spMk id="88" creationId="{56B9177D-3490-4BC1-8F95-3E7E00647793}"/>
          </ac:spMkLst>
        </pc:spChg>
        <pc:spChg chg="add mod">
          <ac:chgData name="Jacob, Karen (SPAC/PSPC) (elle-la / she-her)" userId="66e9cce0-e37b-4645-a907-f7690bd68dfb" providerId="ADAL" clId="{871AC57A-6E3B-4D85-BA02-8D6F5065EA89}" dt="2024-06-04T20:03:30.484" v="31"/>
          <ac:spMkLst>
            <pc:docMk/>
            <pc:sldMk cId="581567723" sldId="4998"/>
            <ac:spMk id="89" creationId="{6DB69479-8F24-430C-A591-836532D9DF47}"/>
          </ac:spMkLst>
        </pc:spChg>
        <pc:spChg chg="add mod">
          <ac:chgData name="Jacob, Karen (SPAC/PSPC) (elle-la / she-her)" userId="66e9cce0-e37b-4645-a907-f7690bd68dfb" providerId="ADAL" clId="{871AC57A-6E3B-4D85-BA02-8D6F5065EA89}" dt="2024-06-04T20:03:30.484" v="31"/>
          <ac:spMkLst>
            <pc:docMk/>
            <pc:sldMk cId="581567723" sldId="4998"/>
            <ac:spMk id="90" creationId="{BD8FE8FD-36A9-4CBE-8EF0-DC5BD427B29C}"/>
          </ac:spMkLst>
        </pc:spChg>
        <pc:spChg chg="add mod">
          <ac:chgData name="Jacob, Karen (SPAC/PSPC) (elle-la / she-her)" userId="66e9cce0-e37b-4645-a907-f7690bd68dfb" providerId="ADAL" clId="{871AC57A-6E3B-4D85-BA02-8D6F5065EA89}" dt="2024-06-04T20:03:30.484" v="31"/>
          <ac:spMkLst>
            <pc:docMk/>
            <pc:sldMk cId="581567723" sldId="4998"/>
            <ac:spMk id="91" creationId="{C7D08EDC-D400-4AF2-A1CA-5AE1D5A9F95C}"/>
          </ac:spMkLst>
        </pc:spChg>
        <pc:spChg chg="add mod">
          <ac:chgData name="Jacob, Karen (SPAC/PSPC) (elle-la / she-her)" userId="66e9cce0-e37b-4645-a907-f7690bd68dfb" providerId="ADAL" clId="{871AC57A-6E3B-4D85-BA02-8D6F5065EA89}" dt="2024-06-04T20:03:30.484" v="31"/>
          <ac:spMkLst>
            <pc:docMk/>
            <pc:sldMk cId="581567723" sldId="4998"/>
            <ac:spMk id="92" creationId="{93D3ED72-9264-41B5-9B08-7750C2DE0CB8}"/>
          </ac:spMkLst>
        </pc:spChg>
        <pc:spChg chg="add mod">
          <ac:chgData name="Jacob, Karen (SPAC/PSPC) (elle-la / she-her)" userId="66e9cce0-e37b-4645-a907-f7690bd68dfb" providerId="ADAL" clId="{871AC57A-6E3B-4D85-BA02-8D6F5065EA89}" dt="2024-06-04T20:03:30.484" v="31"/>
          <ac:spMkLst>
            <pc:docMk/>
            <pc:sldMk cId="581567723" sldId="4998"/>
            <ac:spMk id="93" creationId="{A8FF5BF6-F427-4D20-8EB1-65CFC1724605}"/>
          </ac:spMkLst>
        </pc:spChg>
        <pc:spChg chg="add mod">
          <ac:chgData name="Jacob, Karen (SPAC/PSPC) (elle-la / she-her)" userId="66e9cce0-e37b-4645-a907-f7690bd68dfb" providerId="ADAL" clId="{871AC57A-6E3B-4D85-BA02-8D6F5065EA89}" dt="2024-06-04T20:03:30.484" v="31"/>
          <ac:spMkLst>
            <pc:docMk/>
            <pc:sldMk cId="581567723" sldId="4998"/>
            <ac:spMk id="94" creationId="{725DBB61-FAC8-4335-9AA6-6637B839F3D6}"/>
          </ac:spMkLst>
        </pc:spChg>
        <pc:spChg chg="add mod">
          <ac:chgData name="Jacob, Karen (SPAC/PSPC) (elle-la / she-her)" userId="66e9cce0-e37b-4645-a907-f7690bd68dfb" providerId="ADAL" clId="{871AC57A-6E3B-4D85-BA02-8D6F5065EA89}" dt="2024-06-04T20:03:30.484" v="31"/>
          <ac:spMkLst>
            <pc:docMk/>
            <pc:sldMk cId="581567723" sldId="4998"/>
            <ac:spMk id="95" creationId="{B6FBD31A-5436-4C16-8F43-E55F069274F5}"/>
          </ac:spMkLst>
        </pc:spChg>
        <pc:spChg chg="add mod">
          <ac:chgData name="Jacob, Karen (SPAC/PSPC) (elle-la / she-her)" userId="66e9cce0-e37b-4645-a907-f7690bd68dfb" providerId="ADAL" clId="{871AC57A-6E3B-4D85-BA02-8D6F5065EA89}" dt="2024-06-04T20:03:30.484" v="31"/>
          <ac:spMkLst>
            <pc:docMk/>
            <pc:sldMk cId="581567723" sldId="4998"/>
            <ac:spMk id="96" creationId="{F2120E17-A69B-462C-8B21-8EE196B4E81D}"/>
          </ac:spMkLst>
        </pc:spChg>
        <pc:spChg chg="add mod">
          <ac:chgData name="Jacob, Karen (SPAC/PSPC) (elle-la / she-her)" userId="66e9cce0-e37b-4645-a907-f7690bd68dfb" providerId="ADAL" clId="{871AC57A-6E3B-4D85-BA02-8D6F5065EA89}" dt="2024-06-04T20:03:30.484" v="31"/>
          <ac:spMkLst>
            <pc:docMk/>
            <pc:sldMk cId="581567723" sldId="4998"/>
            <ac:spMk id="97" creationId="{9814AE1D-E9AA-4FE6-9DB5-05AACAE7A30A}"/>
          </ac:spMkLst>
        </pc:spChg>
        <pc:spChg chg="add mod">
          <ac:chgData name="Jacob, Karen (SPAC/PSPC) (elle-la / she-her)" userId="66e9cce0-e37b-4645-a907-f7690bd68dfb" providerId="ADAL" clId="{871AC57A-6E3B-4D85-BA02-8D6F5065EA89}" dt="2024-06-04T20:03:30.484" v="31"/>
          <ac:spMkLst>
            <pc:docMk/>
            <pc:sldMk cId="581567723" sldId="4998"/>
            <ac:spMk id="98" creationId="{E4C5ACC5-D963-4E98-AF5C-C330DA3B98B4}"/>
          </ac:spMkLst>
        </pc:spChg>
        <pc:spChg chg="add mod">
          <ac:chgData name="Jacob, Karen (SPAC/PSPC) (elle-la / she-her)" userId="66e9cce0-e37b-4645-a907-f7690bd68dfb" providerId="ADAL" clId="{871AC57A-6E3B-4D85-BA02-8D6F5065EA89}" dt="2024-06-04T20:03:30.484" v="31"/>
          <ac:spMkLst>
            <pc:docMk/>
            <pc:sldMk cId="581567723" sldId="4998"/>
            <ac:spMk id="99" creationId="{943262C8-94B0-46A8-A48C-BF1D0EDD0760}"/>
          </ac:spMkLst>
        </pc:spChg>
        <pc:spChg chg="add mod">
          <ac:chgData name="Jacob, Karen (SPAC/PSPC) (elle-la / she-her)" userId="66e9cce0-e37b-4645-a907-f7690bd68dfb" providerId="ADAL" clId="{871AC57A-6E3B-4D85-BA02-8D6F5065EA89}" dt="2024-06-04T20:03:30.484" v="31"/>
          <ac:spMkLst>
            <pc:docMk/>
            <pc:sldMk cId="581567723" sldId="4998"/>
            <ac:spMk id="100" creationId="{F4EB67C5-A05D-4790-8033-9F6BFBA17231}"/>
          </ac:spMkLst>
        </pc:spChg>
        <pc:spChg chg="add mod">
          <ac:chgData name="Jacob, Karen (SPAC/PSPC) (elle-la / she-her)" userId="66e9cce0-e37b-4645-a907-f7690bd68dfb" providerId="ADAL" clId="{871AC57A-6E3B-4D85-BA02-8D6F5065EA89}" dt="2024-06-04T20:03:30.484" v="31"/>
          <ac:spMkLst>
            <pc:docMk/>
            <pc:sldMk cId="581567723" sldId="4998"/>
            <ac:spMk id="101" creationId="{C123A7F2-D10A-44D6-862A-1290AA2524EA}"/>
          </ac:spMkLst>
        </pc:spChg>
        <pc:spChg chg="add mod">
          <ac:chgData name="Jacob, Karen (SPAC/PSPC) (elle-la / she-her)" userId="66e9cce0-e37b-4645-a907-f7690bd68dfb" providerId="ADAL" clId="{871AC57A-6E3B-4D85-BA02-8D6F5065EA89}" dt="2024-06-04T20:03:30.484" v="31"/>
          <ac:spMkLst>
            <pc:docMk/>
            <pc:sldMk cId="581567723" sldId="4998"/>
            <ac:spMk id="102" creationId="{6B2AD6FF-75F6-4BEC-B0E2-2106CF8D85EF}"/>
          </ac:spMkLst>
        </pc:spChg>
        <pc:spChg chg="add mod">
          <ac:chgData name="Jacob, Karen (SPAC/PSPC) (elle-la / she-her)" userId="66e9cce0-e37b-4645-a907-f7690bd68dfb" providerId="ADAL" clId="{871AC57A-6E3B-4D85-BA02-8D6F5065EA89}" dt="2024-06-04T20:03:30.484" v="31"/>
          <ac:spMkLst>
            <pc:docMk/>
            <pc:sldMk cId="581567723" sldId="4998"/>
            <ac:spMk id="103" creationId="{F8538060-124E-4F48-95E7-9D1FC44DCE29}"/>
          </ac:spMkLst>
        </pc:spChg>
        <pc:spChg chg="add mod">
          <ac:chgData name="Jacob, Karen (SPAC/PSPC) (elle-la / she-her)" userId="66e9cce0-e37b-4645-a907-f7690bd68dfb" providerId="ADAL" clId="{871AC57A-6E3B-4D85-BA02-8D6F5065EA89}" dt="2024-06-04T20:03:30.484" v="31"/>
          <ac:spMkLst>
            <pc:docMk/>
            <pc:sldMk cId="581567723" sldId="4998"/>
            <ac:spMk id="104" creationId="{E0ACDE9C-AF7C-4AC2-BF82-0C109FA4FA72}"/>
          </ac:spMkLst>
        </pc:spChg>
        <pc:spChg chg="add mod">
          <ac:chgData name="Jacob, Karen (SPAC/PSPC) (elle-la / she-her)" userId="66e9cce0-e37b-4645-a907-f7690bd68dfb" providerId="ADAL" clId="{871AC57A-6E3B-4D85-BA02-8D6F5065EA89}" dt="2024-06-04T20:03:30.484" v="31"/>
          <ac:spMkLst>
            <pc:docMk/>
            <pc:sldMk cId="581567723" sldId="4998"/>
            <ac:spMk id="105" creationId="{64E49C9C-34D0-4E1C-8A8F-94224E21ACA4}"/>
          </ac:spMkLst>
        </pc:spChg>
        <pc:spChg chg="add mod">
          <ac:chgData name="Jacob, Karen (SPAC/PSPC) (elle-la / she-her)" userId="66e9cce0-e37b-4645-a907-f7690bd68dfb" providerId="ADAL" clId="{871AC57A-6E3B-4D85-BA02-8D6F5065EA89}" dt="2024-06-04T20:03:30.484" v="31"/>
          <ac:spMkLst>
            <pc:docMk/>
            <pc:sldMk cId="581567723" sldId="4998"/>
            <ac:spMk id="106" creationId="{974E5BD2-C1A4-4310-AB62-C664A5981DBB}"/>
          </ac:spMkLst>
        </pc:spChg>
        <pc:spChg chg="add mod">
          <ac:chgData name="Jacob, Karen (SPAC/PSPC) (elle-la / she-her)" userId="66e9cce0-e37b-4645-a907-f7690bd68dfb" providerId="ADAL" clId="{871AC57A-6E3B-4D85-BA02-8D6F5065EA89}" dt="2024-06-04T20:03:30.484" v="31"/>
          <ac:spMkLst>
            <pc:docMk/>
            <pc:sldMk cId="581567723" sldId="4998"/>
            <ac:spMk id="107" creationId="{0AC9074B-D980-4167-8282-6847643BDA14}"/>
          </ac:spMkLst>
        </pc:spChg>
        <pc:spChg chg="add mod">
          <ac:chgData name="Jacob, Karen (SPAC/PSPC) (elle-la / she-her)" userId="66e9cce0-e37b-4645-a907-f7690bd68dfb" providerId="ADAL" clId="{871AC57A-6E3B-4D85-BA02-8D6F5065EA89}" dt="2024-06-04T20:03:30.484" v="31"/>
          <ac:spMkLst>
            <pc:docMk/>
            <pc:sldMk cId="581567723" sldId="4998"/>
            <ac:spMk id="108" creationId="{B08827D0-B6FA-4BE6-8966-D3541075B0D6}"/>
          </ac:spMkLst>
        </pc:spChg>
        <pc:spChg chg="add mod">
          <ac:chgData name="Jacob, Karen (SPAC/PSPC) (elle-la / she-her)" userId="66e9cce0-e37b-4645-a907-f7690bd68dfb" providerId="ADAL" clId="{871AC57A-6E3B-4D85-BA02-8D6F5065EA89}" dt="2024-06-04T20:03:30.484" v="31"/>
          <ac:spMkLst>
            <pc:docMk/>
            <pc:sldMk cId="581567723" sldId="4998"/>
            <ac:spMk id="109" creationId="{052C70B8-E11B-46D8-9E76-5D7C0ABF20B8}"/>
          </ac:spMkLst>
        </pc:spChg>
        <pc:spChg chg="add mod">
          <ac:chgData name="Jacob, Karen (SPAC/PSPC) (elle-la / she-her)" userId="66e9cce0-e37b-4645-a907-f7690bd68dfb" providerId="ADAL" clId="{871AC57A-6E3B-4D85-BA02-8D6F5065EA89}" dt="2024-06-04T20:03:30.484" v="31"/>
          <ac:spMkLst>
            <pc:docMk/>
            <pc:sldMk cId="581567723" sldId="4998"/>
            <ac:spMk id="110" creationId="{50D981BE-A9F5-41EA-A906-1D3A5309B736}"/>
          </ac:spMkLst>
        </pc:spChg>
        <pc:spChg chg="add mod">
          <ac:chgData name="Jacob, Karen (SPAC/PSPC) (elle-la / she-her)" userId="66e9cce0-e37b-4645-a907-f7690bd68dfb" providerId="ADAL" clId="{871AC57A-6E3B-4D85-BA02-8D6F5065EA89}" dt="2024-06-04T20:03:30.484" v="31"/>
          <ac:spMkLst>
            <pc:docMk/>
            <pc:sldMk cId="581567723" sldId="4998"/>
            <ac:spMk id="111" creationId="{BF98DB2D-62A6-4BDF-90A8-1D930D9531E3}"/>
          </ac:spMkLst>
        </pc:spChg>
        <pc:spChg chg="add mod">
          <ac:chgData name="Jacob, Karen (SPAC/PSPC) (elle-la / she-her)" userId="66e9cce0-e37b-4645-a907-f7690bd68dfb" providerId="ADAL" clId="{871AC57A-6E3B-4D85-BA02-8D6F5065EA89}" dt="2024-06-04T20:03:30.484" v="31"/>
          <ac:spMkLst>
            <pc:docMk/>
            <pc:sldMk cId="581567723" sldId="4998"/>
            <ac:spMk id="112" creationId="{0B8EA684-C526-4015-AB3E-D5CED4B24349}"/>
          </ac:spMkLst>
        </pc:spChg>
        <pc:spChg chg="add mod">
          <ac:chgData name="Jacob, Karen (SPAC/PSPC) (elle-la / she-her)" userId="66e9cce0-e37b-4645-a907-f7690bd68dfb" providerId="ADAL" clId="{871AC57A-6E3B-4D85-BA02-8D6F5065EA89}" dt="2024-06-04T20:03:30.484" v="31"/>
          <ac:spMkLst>
            <pc:docMk/>
            <pc:sldMk cId="581567723" sldId="4998"/>
            <ac:spMk id="113" creationId="{EEB5C5E9-3B66-42D4-A153-77D9D0FE286A}"/>
          </ac:spMkLst>
        </pc:spChg>
        <pc:spChg chg="add mod">
          <ac:chgData name="Jacob, Karen (SPAC/PSPC) (elle-la / she-her)" userId="66e9cce0-e37b-4645-a907-f7690bd68dfb" providerId="ADAL" clId="{871AC57A-6E3B-4D85-BA02-8D6F5065EA89}" dt="2024-06-04T20:03:30.484" v="31"/>
          <ac:spMkLst>
            <pc:docMk/>
            <pc:sldMk cId="581567723" sldId="4998"/>
            <ac:spMk id="114" creationId="{115AD709-94C6-4143-8907-6FEED4B54995}"/>
          </ac:spMkLst>
        </pc:spChg>
        <pc:spChg chg="add mod">
          <ac:chgData name="Jacob, Karen (SPAC/PSPC) (elle-la / she-her)" userId="66e9cce0-e37b-4645-a907-f7690bd68dfb" providerId="ADAL" clId="{871AC57A-6E3B-4D85-BA02-8D6F5065EA89}" dt="2024-07-09T13:58:50.495" v="6985" actId="1035"/>
          <ac:spMkLst>
            <pc:docMk/>
            <pc:sldMk cId="581567723" sldId="4998"/>
            <ac:spMk id="115" creationId="{99B313E4-68F8-0E05-784F-777B53C53AD8}"/>
          </ac:spMkLst>
        </pc:spChg>
        <pc:spChg chg="add mod">
          <ac:chgData name="Jacob, Karen (SPAC/PSPC) (elle-la / she-her)" userId="66e9cce0-e37b-4645-a907-f7690bd68dfb" providerId="ADAL" clId="{871AC57A-6E3B-4D85-BA02-8D6F5065EA89}" dt="2024-06-21T12:40:53.153" v="326" actId="6549"/>
          <ac:spMkLst>
            <pc:docMk/>
            <pc:sldMk cId="581567723" sldId="4998"/>
            <ac:spMk id="116" creationId="{D977104C-37CA-F758-7243-30B07DD8013A}"/>
          </ac:spMkLst>
        </pc:spChg>
        <pc:spChg chg="add mod">
          <ac:chgData name="Jacob, Karen (SPAC/PSPC) (elle-la / she-her)" userId="66e9cce0-e37b-4645-a907-f7690bd68dfb" providerId="ADAL" clId="{871AC57A-6E3B-4D85-BA02-8D6F5065EA89}" dt="2024-06-21T12:43:01.524" v="419" actId="1036"/>
          <ac:spMkLst>
            <pc:docMk/>
            <pc:sldMk cId="581567723" sldId="4998"/>
            <ac:spMk id="117" creationId="{C9DAC2A6-C89F-2DC3-5552-32890189A83F}"/>
          </ac:spMkLst>
        </pc:spChg>
        <pc:spChg chg="add mod">
          <ac:chgData name="Jacob, Karen (SPAC/PSPC) (elle-la / she-her)" userId="66e9cce0-e37b-4645-a907-f7690bd68dfb" providerId="ADAL" clId="{871AC57A-6E3B-4D85-BA02-8D6F5065EA89}" dt="2024-07-09T13:08:47.131" v="6290" actId="20577"/>
          <ac:spMkLst>
            <pc:docMk/>
            <pc:sldMk cId="581567723" sldId="4998"/>
            <ac:spMk id="118" creationId="{03606830-0145-BF89-5080-5EDD4851A9CA}"/>
          </ac:spMkLst>
        </pc:spChg>
        <pc:spChg chg="add mod">
          <ac:chgData name="Jacob, Karen (SPAC/PSPC) (elle-la / she-her)" userId="66e9cce0-e37b-4645-a907-f7690bd68dfb" providerId="ADAL" clId="{871AC57A-6E3B-4D85-BA02-8D6F5065EA89}" dt="2024-06-21T12:43:01.524" v="419" actId="1036"/>
          <ac:spMkLst>
            <pc:docMk/>
            <pc:sldMk cId="581567723" sldId="4998"/>
            <ac:spMk id="121" creationId="{66B4CDA5-6D84-9E6F-207A-6E00AF65A892}"/>
          </ac:spMkLst>
        </pc:spChg>
        <pc:spChg chg="add mod">
          <ac:chgData name="Jacob, Karen (SPAC/PSPC) (elle-la / she-her)" userId="66e9cce0-e37b-4645-a907-f7690bd68dfb" providerId="ADAL" clId="{871AC57A-6E3B-4D85-BA02-8D6F5065EA89}" dt="2024-06-21T12:45:09.449" v="460" actId="20577"/>
          <ac:spMkLst>
            <pc:docMk/>
            <pc:sldMk cId="581567723" sldId="4998"/>
            <ac:spMk id="122" creationId="{A9D90BF1-5FA9-70F0-2114-74B647F61343}"/>
          </ac:spMkLst>
        </pc:spChg>
        <pc:spChg chg="add mod">
          <ac:chgData name="Jacob, Karen (SPAC/PSPC) (elle-la / she-her)" userId="66e9cce0-e37b-4645-a907-f7690bd68dfb" providerId="ADAL" clId="{871AC57A-6E3B-4D85-BA02-8D6F5065EA89}" dt="2024-07-09T13:58:44.995" v="6977" actId="1076"/>
          <ac:spMkLst>
            <pc:docMk/>
            <pc:sldMk cId="581567723" sldId="4998"/>
            <ac:spMk id="123" creationId="{96958ADE-A4CF-B97E-6CC3-E67FA3D6703E}"/>
          </ac:spMkLst>
        </pc:spChg>
        <pc:spChg chg="add mod">
          <ac:chgData name="Jacob, Karen (SPAC/PSPC) (elle-la / she-her)" userId="66e9cce0-e37b-4645-a907-f7690bd68dfb" providerId="ADAL" clId="{871AC57A-6E3B-4D85-BA02-8D6F5065EA89}" dt="2024-06-04T20:08:42.193" v="68" actId="400"/>
          <ac:spMkLst>
            <pc:docMk/>
            <pc:sldMk cId="581567723" sldId="4998"/>
            <ac:spMk id="124" creationId="{D42E50EC-09BD-1D9A-3AA5-B3779C9D68F8}"/>
          </ac:spMkLst>
        </pc:spChg>
        <pc:spChg chg="add mod">
          <ac:chgData name="Jacob, Karen (SPAC/PSPC) (elle-la / she-her)" userId="66e9cce0-e37b-4645-a907-f7690bd68dfb" providerId="ADAL" clId="{871AC57A-6E3B-4D85-BA02-8D6F5065EA89}" dt="2024-07-09T15:20:28.450" v="7097" actId="14100"/>
          <ac:spMkLst>
            <pc:docMk/>
            <pc:sldMk cId="581567723" sldId="4998"/>
            <ac:spMk id="125" creationId="{C3A1B379-6571-1C49-58FA-89CBE354E722}"/>
          </ac:spMkLst>
        </pc:spChg>
        <pc:spChg chg="add mod">
          <ac:chgData name="Jacob, Karen (SPAC/PSPC) (elle-la / she-her)" userId="66e9cce0-e37b-4645-a907-f7690bd68dfb" providerId="ADAL" clId="{871AC57A-6E3B-4D85-BA02-8D6F5065EA89}" dt="2024-07-09T15:20:22.221" v="7095" actId="14100"/>
          <ac:spMkLst>
            <pc:docMk/>
            <pc:sldMk cId="581567723" sldId="4998"/>
            <ac:spMk id="126" creationId="{1D166D08-6E2D-80DD-6808-092F6378AC03}"/>
          </ac:spMkLst>
        </pc:spChg>
        <pc:spChg chg="add mod">
          <ac:chgData name="Jacob, Karen (SPAC/PSPC) (elle-la / she-her)" userId="66e9cce0-e37b-4645-a907-f7690bd68dfb" providerId="ADAL" clId="{871AC57A-6E3B-4D85-BA02-8D6F5065EA89}" dt="2024-06-04T20:08:47.658" v="69" actId="400"/>
          <ac:spMkLst>
            <pc:docMk/>
            <pc:sldMk cId="581567723" sldId="4998"/>
            <ac:spMk id="127" creationId="{66533980-1485-F682-A323-EED21142DA01}"/>
          </ac:spMkLst>
        </pc:spChg>
        <pc:spChg chg="add mod">
          <ac:chgData name="Jacob, Karen (SPAC/PSPC) (elle-la / she-her)" userId="66e9cce0-e37b-4645-a907-f7690bd68dfb" providerId="ADAL" clId="{871AC57A-6E3B-4D85-BA02-8D6F5065EA89}" dt="2024-07-09T13:58:50.495" v="6985" actId="1035"/>
          <ac:spMkLst>
            <pc:docMk/>
            <pc:sldMk cId="581567723" sldId="4998"/>
            <ac:spMk id="130" creationId="{37927CF3-81AF-9EC4-5FAE-0F465D84F953}"/>
          </ac:spMkLst>
        </pc:spChg>
        <pc:spChg chg="add mod">
          <ac:chgData name="Jacob, Karen (SPAC/PSPC) (elle-la / she-her)" userId="66e9cce0-e37b-4645-a907-f7690bd68dfb" providerId="ADAL" clId="{871AC57A-6E3B-4D85-BA02-8D6F5065EA89}" dt="2024-07-09T15:20:17.989" v="7094" actId="14100"/>
          <ac:spMkLst>
            <pc:docMk/>
            <pc:sldMk cId="581567723" sldId="4998"/>
            <ac:spMk id="131" creationId="{F71F5B42-71A6-85F9-508A-7ED7FF32727F}"/>
          </ac:spMkLst>
        </pc:spChg>
        <pc:spChg chg="add mod">
          <ac:chgData name="Jacob, Karen (SPAC/PSPC) (elle-la / she-her)" userId="66e9cce0-e37b-4645-a907-f7690bd68dfb" providerId="ADAL" clId="{871AC57A-6E3B-4D85-BA02-8D6F5065EA89}" dt="2024-07-09T15:19:03.396" v="7064" actId="1076"/>
          <ac:spMkLst>
            <pc:docMk/>
            <pc:sldMk cId="581567723" sldId="4998"/>
            <ac:spMk id="132" creationId="{972E62F7-856E-E74B-98EE-589692A22E88}"/>
          </ac:spMkLst>
        </pc:spChg>
        <pc:spChg chg="add mod">
          <ac:chgData name="Jacob, Karen (SPAC/PSPC) (elle-la / she-her)" userId="66e9cce0-e37b-4645-a907-f7690bd68dfb" providerId="ADAL" clId="{871AC57A-6E3B-4D85-BA02-8D6F5065EA89}" dt="2024-06-21T12:43:01.524" v="419" actId="1036"/>
          <ac:spMkLst>
            <pc:docMk/>
            <pc:sldMk cId="581567723" sldId="4998"/>
            <ac:spMk id="139" creationId="{CF62872A-6A4F-E4F7-4AD7-DBC7CF7BE7BB}"/>
          </ac:spMkLst>
        </pc:spChg>
        <pc:spChg chg="add mod">
          <ac:chgData name="Jacob, Karen (SPAC/PSPC) (elle-la / she-her)" userId="66e9cce0-e37b-4645-a907-f7690bd68dfb" providerId="ADAL" clId="{871AC57A-6E3B-4D85-BA02-8D6F5065EA89}" dt="2024-06-21T12:43:01.524" v="419" actId="1036"/>
          <ac:spMkLst>
            <pc:docMk/>
            <pc:sldMk cId="581567723" sldId="4998"/>
            <ac:spMk id="140" creationId="{87C4F373-56FB-50EB-6CCC-792F927472E9}"/>
          </ac:spMkLst>
        </pc:spChg>
        <pc:spChg chg="add mod">
          <ac:chgData name="Jacob, Karen (SPAC/PSPC) (elle-la / she-her)" userId="66e9cce0-e37b-4645-a907-f7690bd68dfb" providerId="ADAL" clId="{871AC57A-6E3B-4D85-BA02-8D6F5065EA89}" dt="2024-06-21T12:43:01.524" v="419" actId="1036"/>
          <ac:spMkLst>
            <pc:docMk/>
            <pc:sldMk cId="581567723" sldId="4998"/>
            <ac:spMk id="141" creationId="{17FBC5D0-2E45-786B-E37F-05FC411779FD}"/>
          </ac:spMkLst>
        </pc:spChg>
        <pc:spChg chg="add mod">
          <ac:chgData name="Jacob, Karen (SPAC/PSPC) (elle-la / she-her)" userId="66e9cce0-e37b-4645-a907-f7690bd68dfb" providerId="ADAL" clId="{871AC57A-6E3B-4D85-BA02-8D6F5065EA89}" dt="2024-06-21T12:43:01.524" v="419" actId="1036"/>
          <ac:spMkLst>
            <pc:docMk/>
            <pc:sldMk cId="581567723" sldId="4998"/>
            <ac:spMk id="142" creationId="{04BB34E7-9632-DF5A-FACE-1B455C81662D}"/>
          </ac:spMkLst>
        </pc:spChg>
        <pc:spChg chg="add mod">
          <ac:chgData name="Jacob, Karen (SPAC/PSPC) (elle-la / she-her)" userId="66e9cce0-e37b-4645-a907-f7690bd68dfb" providerId="ADAL" clId="{871AC57A-6E3B-4D85-BA02-8D6F5065EA89}" dt="2024-06-21T12:43:01.524" v="419" actId="1036"/>
          <ac:spMkLst>
            <pc:docMk/>
            <pc:sldMk cId="581567723" sldId="4998"/>
            <ac:spMk id="143" creationId="{99299495-1A75-D054-0CD4-F2DDFCDAD165}"/>
          </ac:spMkLst>
        </pc:spChg>
        <pc:spChg chg="add mod">
          <ac:chgData name="Jacob, Karen (SPAC/PSPC) (elle-la / she-her)" userId="66e9cce0-e37b-4645-a907-f7690bd68dfb" providerId="ADAL" clId="{871AC57A-6E3B-4D85-BA02-8D6F5065EA89}" dt="2024-06-21T12:43:01.524" v="419" actId="1036"/>
          <ac:spMkLst>
            <pc:docMk/>
            <pc:sldMk cId="581567723" sldId="4998"/>
            <ac:spMk id="144" creationId="{1890C364-13EC-8AA3-D9B8-25BECFFB618D}"/>
          </ac:spMkLst>
        </pc:spChg>
        <pc:spChg chg="add mod">
          <ac:chgData name="Jacob, Karen (SPAC/PSPC) (elle-la / she-her)" userId="66e9cce0-e37b-4645-a907-f7690bd68dfb" providerId="ADAL" clId="{871AC57A-6E3B-4D85-BA02-8D6F5065EA89}" dt="2024-06-21T12:43:01.524" v="419" actId="1036"/>
          <ac:spMkLst>
            <pc:docMk/>
            <pc:sldMk cId="581567723" sldId="4998"/>
            <ac:spMk id="145" creationId="{241CF055-B551-C738-8FF7-32A5EE063159}"/>
          </ac:spMkLst>
        </pc:spChg>
        <pc:spChg chg="add mod">
          <ac:chgData name="Jacob, Karen (SPAC/PSPC) (elle-la / she-her)" userId="66e9cce0-e37b-4645-a907-f7690bd68dfb" providerId="ADAL" clId="{871AC57A-6E3B-4D85-BA02-8D6F5065EA89}" dt="2024-06-21T12:43:01.524" v="419" actId="1036"/>
          <ac:spMkLst>
            <pc:docMk/>
            <pc:sldMk cId="581567723" sldId="4998"/>
            <ac:spMk id="146" creationId="{0F0337CF-E057-1035-701B-8D0F6E4ED81A}"/>
          </ac:spMkLst>
        </pc:spChg>
        <pc:spChg chg="add mod">
          <ac:chgData name="Jacob, Karen (SPAC/PSPC) (elle-la / she-her)" userId="66e9cce0-e37b-4645-a907-f7690bd68dfb" providerId="ADAL" clId="{871AC57A-6E3B-4D85-BA02-8D6F5065EA89}" dt="2024-06-21T12:43:01.524" v="419" actId="1036"/>
          <ac:spMkLst>
            <pc:docMk/>
            <pc:sldMk cId="581567723" sldId="4998"/>
            <ac:spMk id="147" creationId="{343636E2-B99B-D259-C2B5-8C58D458FF2E}"/>
          </ac:spMkLst>
        </pc:spChg>
        <pc:spChg chg="add mod">
          <ac:chgData name="Jacob, Karen (SPAC/PSPC) (elle-la / she-her)" userId="66e9cce0-e37b-4645-a907-f7690bd68dfb" providerId="ADAL" clId="{871AC57A-6E3B-4D85-BA02-8D6F5065EA89}" dt="2024-06-21T12:43:01.524" v="419" actId="1036"/>
          <ac:spMkLst>
            <pc:docMk/>
            <pc:sldMk cId="581567723" sldId="4998"/>
            <ac:spMk id="148" creationId="{216AECD0-CB3C-DCEC-EA7D-EF9B06A71D9F}"/>
          </ac:spMkLst>
        </pc:spChg>
        <pc:grpChg chg="add del mod">
          <ac:chgData name="Jacob, Karen (SPAC/PSPC) (elle-la / she-her)" userId="66e9cce0-e37b-4645-a907-f7690bd68dfb" providerId="ADAL" clId="{871AC57A-6E3B-4D85-BA02-8D6F5065EA89}" dt="2024-06-04T20:06:17.686" v="40" actId="478"/>
          <ac:grpSpMkLst>
            <pc:docMk/>
            <pc:sldMk cId="581567723" sldId="4998"/>
            <ac:grpSpMk id="4" creationId="{35C0ED0D-C6FC-405B-61C1-EE256DB12F16}"/>
          </ac:grpSpMkLst>
        </pc:grpChg>
        <pc:grpChg chg="add mod">
          <ac:chgData name="Jacob, Karen (SPAC/PSPC) (elle-la / she-her)" userId="66e9cce0-e37b-4645-a907-f7690bd68dfb" providerId="ADAL" clId="{871AC57A-6E3B-4D85-BA02-8D6F5065EA89}" dt="2024-06-04T20:03:30.484" v="31"/>
          <ac:grpSpMkLst>
            <pc:docMk/>
            <pc:sldMk cId="581567723" sldId="4998"/>
            <ac:grpSpMk id="7" creationId="{A4804B27-59A4-4DE4-A06D-91FA03F621CB}"/>
          </ac:grpSpMkLst>
        </pc:grpChg>
        <pc:grpChg chg="add mod">
          <ac:chgData name="Jacob, Karen (SPAC/PSPC) (elle-la / she-her)" userId="66e9cce0-e37b-4645-a907-f7690bd68dfb" providerId="ADAL" clId="{871AC57A-6E3B-4D85-BA02-8D6F5065EA89}" dt="2024-06-04T20:03:30.484" v="31"/>
          <ac:grpSpMkLst>
            <pc:docMk/>
            <pc:sldMk cId="581567723" sldId="4998"/>
            <ac:grpSpMk id="8" creationId="{FC2EBF14-215E-44FF-90E2-30556AF69775}"/>
          </ac:grpSpMkLst>
        </pc:grpChg>
        <pc:grpChg chg="add mod">
          <ac:chgData name="Jacob, Karen (SPAC/PSPC) (elle-la / she-her)" userId="66e9cce0-e37b-4645-a907-f7690bd68dfb" providerId="ADAL" clId="{871AC57A-6E3B-4D85-BA02-8D6F5065EA89}" dt="2024-06-04T20:03:30.484" v="31"/>
          <ac:grpSpMkLst>
            <pc:docMk/>
            <pc:sldMk cId="581567723" sldId="4998"/>
            <ac:grpSpMk id="15" creationId="{9C5C2F43-BC26-413D-AF8B-2C27DABB20B5}"/>
          </ac:grpSpMkLst>
        </pc:grpChg>
        <pc:grpChg chg="add mod">
          <ac:chgData name="Jacob, Karen (SPAC/PSPC) (elle-la / she-her)" userId="66e9cce0-e37b-4645-a907-f7690bd68dfb" providerId="ADAL" clId="{871AC57A-6E3B-4D85-BA02-8D6F5065EA89}" dt="2024-06-04T20:03:30.484" v="31"/>
          <ac:grpSpMkLst>
            <pc:docMk/>
            <pc:sldMk cId="581567723" sldId="4998"/>
            <ac:grpSpMk id="18" creationId="{88B8FFC7-3D36-47A9-AB75-03447182B0BB}"/>
          </ac:grpSpMkLst>
        </pc:grpChg>
        <pc:grpChg chg="add mod">
          <ac:chgData name="Jacob, Karen (SPAC/PSPC) (elle-la / she-her)" userId="66e9cce0-e37b-4645-a907-f7690bd68dfb" providerId="ADAL" clId="{871AC57A-6E3B-4D85-BA02-8D6F5065EA89}" dt="2024-06-04T20:03:30.484" v="31"/>
          <ac:grpSpMkLst>
            <pc:docMk/>
            <pc:sldMk cId="581567723" sldId="4998"/>
            <ac:grpSpMk id="21" creationId="{84E686C2-70AC-438A-925F-E4FC81D9F796}"/>
          </ac:grpSpMkLst>
        </pc:grpChg>
        <pc:grpChg chg="add mod">
          <ac:chgData name="Jacob, Karen (SPAC/PSPC) (elle-la / she-her)" userId="66e9cce0-e37b-4645-a907-f7690bd68dfb" providerId="ADAL" clId="{871AC57A-6E3B-4D85-BA02-8D6F5065EA89}" dt="2024-06-04T20:03:30.484" v="31"/>
          <ac:grpSpMkLst>
            <pc:docMk/>
            <pc:sldMk cId="581567723" sldId="4998"/>
            <ac:grpSpMk id="65" creationId="{2FC49C24-D759-4C63-886F-4E8D78CB4F57}"/>
          </ac:grpSpMkLst>
        </pc:grpChg>
        <pc:grpChg chg="add mod">
          <ac:chgData name="Jacob, Karen (SPAC/PSPC) (elle-la / she-her)" userId="66e9cce0-e37b-4645-a907-f7690bd68dfb" providerId="ADAL" clId="{871AC57A-6E3B-4D85-BA02-8D6F5065EA89}" dt="2024-06-04T20:03:30.484" v="31"/>
          <ac:grpSpMkLst>
            <pc:docMk/>
            <pc:sldMk cId="581567723" sldId="4998"/>
            <ac:grpSpMk id="68" creationId="{0F2AE28F-95D0-4DC4-8FFE-E3F1122C58B6}"/>
          </ac:grpSpMkLst>
        </pc:grpChg>
        <pc:grpChg chg="add mod">
          <ac:chgData name="Jacob, Karen (SPAC/PSPC) (elle-la / she-her)" userId="66e9cce0-e37b-4645-a907-f7690bd68dfb" providerId="ADAL" clId="{871AC57A-6E3B-4D85-BA02-8D6F5065EA89}" dt="2024-06-04T20:03:30.484" v="31"/>
          <ac:grpSpMkLst>
            <pc:docMk/>
            <pc:sldMk cId="581567723" sldId="4998"/>
            <ac:grpSpMk id="71" creationId="{7FEC3C45-D739-47B9-8AF6-C85503573C83}"/>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19" creationId="{35030E9D-B4CE-0B9D-28C2-9F05C1F829FA}"/>
          </ac:grpSpMkLst>
        </pc:grpChg>
        <pc:grpChg chg="add mod">
          <ac:chgData name="Jacob, Karen (SPAC/PSPC) (elle-la / she-her)" userId="66e9cce0-e37b-4645-a907-f7690bd68dfb" providerId="ADAL" clId="{871AC57A-6E3B-4D85-BA02-8D6F5065EA89}" dt="2024-06-21T12:43:01.524" v="419" actId="1036"/>
          <ac:grpSpMkLst>
            <pc:docMk/>
            <pc:sldMk cId="581567723" sldId="4998"/>
            <ac:grpSpMk id="120" creationId="{A738861C-A5D5-34D0-85CF-51FD1F064393}"/>
          </ac:grpSpMkLst>
        </pc:grpChg>
        <pc:grpChg chg="add mod">
          <ac:chgData name="Jacob, Karen (SPAC/PSPC) (elle-la / she-her)" userId="66e9cce0-e37b-4645-a907-f7690bd68dfb" providerId="ADAL" clId="{871AC57A-6E3B-4D85-BA02-8D6F5065EA89}" dt="2024-07-09T15:19:03.396" v="7064" actId="1076"/>
          <ac:grpSpMkLst>
            <pc:docMk/>
            <pc:sldMk cId="581567723" sldId="4998"/>
            <ac:grpSpMk id="135" creationId="{DFC4213B-24A7-04FD-6312-18CA7ABB7C6D}"/>
          </ac:grpSpMkLst>
        </pc:grpChg>
        <pc:picChg chg="add mod">
          <ac:chgData name="Jacob, Karen (SPAC/PSPC) (elle-la / she-her)" userId="66e9cce0-e37b-4645-a907-f7690bd68dfb" providerId="ADAL" clId="{871AC57A-6E3B-4D85-BA02-8D6F5065EA89}" dt="2024-06-04T20:03:30.484" v="31"/>
          <ac:picMkLst>
            <pc:docMk/>
            <pc:sldMk cId="581567723" sldId="4998"/>
            <ac:picMk id="12" creationId="{DCFB8BD2-0F3D-CB20-461F-8E2960575415}"/>
          </ac:picMkLst>
        </pc:picChg>
        <pc:picChg chg="add mod">
          <ac:chgData name="Jacob, Karen (SPAC/PSPC) (elle-la / she-her)" userId="66e9cce0-e37b-4645-a907-f7690bd68dfb" providerId="ADAL" clId="{871AC57A-6E3B-4D85-BA02-8D6F5065EA89}" dt="2024-06-04T20:03:30.484" v="31"/>
          <ac:picMkLst>
            <pc:docMk/>
            <pc:sldMk cId="581567723" sldId="4998"/>
            <ac:picMk id="16" creationId="{D7BC6EDF-F66A-416C-9761-30729BD3A0C5}"/>
          </ac:picMkLst>
        </pc:picChg>
        <pc:picChg chg="add mod">
          <ac:chgData name="Jacob, Karen (SPAC/PSPC) (elle-la / she-her)" userId="66e9cce0-e37b-4645-a907-f7690bd68dfb" providerId="ADAL" clId="{871AC57A-6E3B-4D85-BA02-8D6F5065EA89}" dt="2024-06-04T20:03:30.484" v="31"/>
          <ac:picMkLst>
            <pc:docMk/>
            <pc:sldMk cId="581567723" sldId="4998"/>
            <ac:picMk id="66" creationId="{F3B40228-76E4-4F57-B2D4-EFE1D2C4486F}"/>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8" creationId="{72D7B425-467D-E300-99B1-FF1BD469BAA8}"/>
          </ac:picMkLst>
        </pc:picChg>
        <pc:picChg chg="add mod">
          <ac:chgData name="Jacob, Karen (SPAC/PSPC) (elle-la / she-her)" userId="66e9cce0-e37b-4645-a907-f7690bd68dfb" providerId="ADAL" clId="{871AC57A-6E3B-4D85-BA02-8D6F5065EA89}" dt="2024-07-09T13:58:50.495" v="6985" actId="1035"/>
          <ac:picMkLst>
            <pc:docMk/>
            <pc:sldMk cId="581567723" sldId="4998"/>
            <ac:picMk id="129" creationId="{E625BF06-9D3F-0649-97EF-1BA8A59764D7}"/>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3" creationId="{2C4D393D-1B54-98F0-19F7-D0F7CB3EDE01}"/>
          </ac:picMkLst>
        </pc:picChg>
        <pc:picChg chg="add mod">
          <ac:chgData name="Jacob, Karen (SPAC/PSPC) (elle-la / she-her)" userId="66e9cce0-e37b-4645-a907-f7690bd68dfb" providerId="ADAL" clId="{871AC57A-6E3B-4D85-BA02-8D6F5065EA89}" dt="2024-07-09T15:19:03.396" v="7064" actId="1076"/>
          <ac:picMkLst>
            <pc:docMk/>
            <pc:sldMk cId="581567723" sldId="4998"/>
            <ac:picMk id="134" creationId="{5BE65366-221B-6F0C-7BDE-1611F267E4E8}"/>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6" creationId="{8A40CC07-30C0-A29C-CFB2-A0D268F96E64}"/>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7" creationId="{E2CAB800-4796-CB87-2473-059A42A0D5AB}"/>
          </ac:picMkLst>
        </pc:picChg>
        <pc:picChg chg="add mod">
          <ac:chgData name="Jacob, Karen (SPAC/PSPC) (elle-la / she-her)" userId="66e9cce0-e37b-4645-a907-f7690bd68dfb" providerId="ADAL" clId="{871AC57A-6E3B-4D85-BA02-8D6F5065EA89}" dt="2024-06-21T12:43:01.524" v="419" actId="1036"/>
          <ac:picMkLst>
            <pc:docMk/>
            <pc:sldMk cId="581567723" sldId="4998"/>
            <ac:picMk id="138" creationId="{2C59B320-7562-AC56-2510-16F73B114013}"/>
          </ac:picMkLst>
        </pc:picChg>
        <pc:cxnChg chg="add del mod">
          <ac:chgData name="Jacob, Karen (SPAC/PSPC) (elle-la / she-her)" userId="66e9cce0-e37b-4645-a907-f7690bd68dfb" providerId="ADAL" clId="{871AC57A-6E3B-4D85-BA02-8D6F5065EA89}" dt="2024-06-04T20:03:55.896" v="34" actId="478"/>
          <ac:cxnSpMkLst>
            <pc:docMk/>
            <pc:sldMk cId="581567723" sldId="4998"/>
            <ac:cxnSpMk id="13" creationId="{B4BC7E40-4305-7EA3-34AC-23BB03460576}"/>
          </ac:cxnSpMkLst>
        </pc:cxnChg>
        <pc:extLst>
          <p:ext xmlns:p="http://schemas.openxmlformats.org/presentationml/2006/main" uri="{D6D511B9-2390-475A-947B-AFAB55BFBCF1}">
            <pc226:cmChg xmlns:pc226="http://schemas.microsoft.com/office/powerpoint/2022/06/main/command" chg="add del mod">
              <pc226:chgData name="Jacob, Karen (SPAC/PSPC) (elle-la / she-her)" userId="66e9cce0-e37b-4645-a907-f7690bd68dfb" providerId="ADAL" clId="{871AC57A-6E3B-4D85-BA02-8D6F5065EA89}" dt="2024-06-21T12:40:04.987" v="178"/>
              <pc2:cmMkLst xmlns:pc2="http://schemas.microsoft.com/office/powerpoint/2019/9/main/command">
                <pc:docMk/>
                <pc:sldMk cId="581567723" sldId="4998"/>
                <pc2:cmMk id="{8B689772-4A83-43CA-95F3-45412B9C008A}"/>
              </pc2:cmMkLst>
              <pc226:cmRplyChg chg="add">
                <pc226:chgData name="Jacob, Karen (SPAC/PSPC) (elle-la / she-her)" userId="66e9cce0-e37b-4645-a907-f7690bd68dfb" providerId="ADAL" clId="{871AC57A-6E3B-4D85-BA02-8D6F5065EA89}" dt="2024-06-05T15:33:49.494" v="87"/>
                <pc2:cmRplyMkLst xmlns:pc2="http://schemas.microsoft.com/office/powerpoint/2019/9/main/command">
                  <pc:docMk/>
                  <pc:sldMk cId="581567723" sldId="4998"/>
                  <pc2:cmMk id="{8B689772-4A83-43CA-95F3-45412B9C008A}"/>
                  <pc2:cmRplyMk id="{F2FEFA6A-7CF3-4F29-A085-28EA1E15041D}"/>
                </pc2:cmRplyMkLst>
              </pc226:cmRplyChg>
            </pc226:cmChg>
          </p:ext>
        </pc:extLst>
      </pc:sldChg>
      <pc:sldChg chg="addSp modSp new mod addCm modCm">
        <pc:chgData name="Jacob, Karen (SPAC/PSPC) (elle-la / she-her)" userId="66e9cce0-e37b-4645-a907-f7690bd68dfb" providerId="ADAL" clId="{871AC57A-6E3B-4D85-BA02-8D6F5065EA89}" dt="2024-06-05T17:44:18.013" v="141"/>
        <pc:sldMkLst>
          <pc:docMk/>
          <pc:sldMk cId="3194185217" sldId="5000"/>
        </pc:sldMkLst>
        <pc:spChg chg="mod">
          <ac:chgData name="Jacob, Karen (SPAC/PSPC) (elle-la / she-her)" userId="66e9cce0-e37b-4645-a907-f7690bd68dfb" providerId="ADAL" clId="{871AC57A-6E3B-4D85-BA02-8D6F5065EA89}" dt="2024-06-04T20:04:42.682" v="38"/>
          <ac:spMkLst>
            <pc:docMk/>
            <pc:sldMk cId="3194185217" sldId="5000"/>
            <ac:spMk id="4" creationId="{58011242-3B58-087A-52DA-31351CD501E0}"/>
          </ac:spMkLst>
        </pc:spChg>
        <pc:spChg chg="mod">
          <ac:chgData name="Jacob, Karen (SPAC/PSPC) (elle-la / she-her)" userId="66e9cce0-e37b-4645-a907-f7690bd68dfb" providerId="ADAL" clId="{871AC57A-6E3B-4D85-BA02-8D6F5065EA89}" dt="2024-06-04T20:04:42.682" v="38"/>
          <ac:spMkLst>
            <pc:docMk/>
            <pc:sldMk cId="3194185217" sldId="5000"/>
            <ac:spMk id="5" creationId="{022AD1F7-CC8C-3292-5DCC-261E346D205F}"/>
          </ac:spMkLst>
        </pc:spChg>
        <pc:spChg chg="mod">
          <ac:chgData name="Jacob, Karen (SPAC/PSPC) (elle-la / she-her)" userId="66e9cce0-e37b-4645-a907-f7690bd68dfb" providerId="ADAL" clId="{871AC57A-6E3B-4D85-BA02-8D6F5065EA89}" dt="2024-06-04T20:04:42.682" v="38"/>
          <ac:spMkLst>
            <pc:docMk/>
            <pc:sldMk cId="3194185217" sldId="5000"/>
            <ac:spMk id="8" creationId="{B8D3236C-F5AD-B8FE-973F-67D3C1A9171D}"/>
          </ac:spMkLst>
        </pc:spChg>
        <pc:spChg chg="mod">
          <ac:chgData name="Jacob, Karen (SPAC/PSPC) (elle-la / she-her)" userId="66e9cce0-e37b-4645-a907-f7690bd68dfb" providerId="ADAL" clId="{871AC57A-6E3B-4D85-BA02-8D6F5065EA89}" dt="2024-06-04T20:04:42.682" v="38"/>
          <ac:spMkLst>
            <pc:docMk/>
            <pc:sldMk cId="3194185217" sldId="5000"/>
            <ac:spMk id="12" creationId="{9F58768A-F5F9-3AC4-6268-3A8E7F67BD06}"/>
          </ac:spMkLst>
        </pc:spChg>
        <pc:spChg chg="mod">
          <ac:chgData name="Jacob, Karen (SPAC/PSPC) (elle-la / she-her)" userId="66e9cce0-e37b-4645-a907-f7690bd68dfb" providerId="ADAL" clId="{871AC57A-6E3B-4D85-BA02-8D6F5065EA89}" dt="2024-06-04T20:04:42.682" v="38"/>
          <ac:spMkLst>
            <pc:docMk/>
            <pc:sldMk cId="3194185217" sldId="5000"/>
            <ac:spMk id="14" creationId="{9B6A7A23-1440-018C-FB55-8B1C9009263E}"/>
          </ac:spMkLst>
        </pc:spChg>
        <pc:spChg chg="mod">
          <ac:chgData name="Jacob, Karen (SPAC/PSPC) (elle-la / she-her)" userId="66e9cce0-e37b-4645-a907-f7690bd68dfb" providerId="ADAL" clId="{871AC57A-6E3B-4D85-BA02-8D6F5065EA89}" dt="2024-06-04T20:04:42.682" v="38"/>
          <ac:spMkLst>
            <pc:docMk/>
            <pc:sldMk cId="3194185217" sldId="5000"/>
            <ac:spMk id="15" creationId="{697BB04D-D5A9-EF9D-9DE3-EAE9709340EE}"/>
          </ac:spMkLst>
        </pc:spChg>
        <pc:spChg chg="mod">
          <ac:chgData name="Jacob, Karen (SPAC/PSPC) (elle-la / she-her)" userId="66e9cce0-e37b-4645-a907-f7690bd68dfb" providerId="ADAL" clId="{871AC57A-6E3B-4D85-BA02-8D6F5065EA89}" dt="2024-06-04T20:04:42.682" v="38"/>
          <ac:spMkLst>
            <pc:docMk/>
            <pc:sldMk cId="3194185217" sldId="5000"/>
            <ac:spMk id="17" creationId="{E809A576-517F-D6FE-2A09-5E88690E1076}"/>
          </ac:spMkLst>
        </pc:spChg>
        <pc:spChg chg="mod">
          <ac:chgData name="Jacob, Karen (SPAC/PSPC) (elle-la / she-her)" userId="66e9cce0-e37b-4645-a907-f7690bd68dfb" providerId="ADAL" clId="{871AC57A-6E3B-4D85-BA02-8D6F5065EA89}" dt="2024-06-04T20:04:42.682" v="38"/>
          <ac:spMkLst>
            <pc:docMk/>
            <pc:sldMk cId="3194185217" sldId="5000"/>
            <ac:spMk id="18" creationId="{99070905-81A6-326C-1DA9-2FC78FD03718}"/>
          </ac:spMkLst>
        </pc:spChg>
        <pc:spChg chg="mod">
          <ac:chgData name="Jacob, Karen (SPAC/PSPC) (elle-la / she-her)" userId="66e9cce0-e37b-4645-a907-f7690bd68dfb" providerId="ADAL" clId="{871AC57A-6E3B-4D85-BA02-8D6F5065EA89}" dt="2024-06-04T20:04:42.682" v="38"/>
          <ac:spMkLst>
            <pc:docMk/>
            <pc:sldMk cId="3194185217" sldId="5000"/>
            <ac:spMk id="19" creationId="{BFA234D2-120A-FD69-86AE-5FB98203EDF5}"/>
          </ac:spMkLst>
        </pc:spChg>
        <pc:spChg chg="mod">
          <ac:chgData name="Jacob, Karen (SPAC/PSPC) (elle-la / she-her)" userId="66e9cce0-e37b-4645-a907-f7690bd68dfb" providerId="ADAL" clId="{871AC57A-6E3B-4D85-BA02-8D6F5065EA89}" dt="2024-06-04T20:04:42.682" v="38"/>
          <ac:spMkLst>
            <pc:docMk/>
            <pc:sldMk cId="3194185217" sldId="5000"/>
            <ac:spMk id="20" creationId="{94DCBF09-ABA2-C4B6-97FC-220DA50B7E63}"/>
          </ac:spMkLst>
        </pc:spChg>
        <pc:spChg chg="mod">
          <ac:chgData name="Jacob, Karen (SPAC/PSPC) (elle-la / she-her)" userId="66e9cce0-e37b-4645-a907-f7690bd68dfb" providerId="ADAL" clId="{871AC57A-6E3B-4D85-BA02-8D6F5065EA89}" dt="2024-06-04T20:04:42.682" v="38"/>
          <ac:spMkLst>
            <pc:docMk/>
            <pc:sldMk cId="3194185217" sldId="5000"/>
            <ac:spMk id="21" creationId="{F0F688BB-42A1-D9B9-B9A0-C12D3974EA66}"/>
          </ac:spMkLst>
        </pc:spChg>
        <pc:spChg chg="mod">
          <ac:chgData name="Jacob, Karen (SPAC/PSPC) (elle-la / she-her)" userId="66e9cce0-e37b-4645-a907-f7690bd68dfb" providerId="ADAL" clId="{871AC57A-6E3B-4D85-BA02-8D6F5065EA89}" dt="2024-06-04T20:04:42.682" v="38"/>
          <ac:spMkLst>
            <pc:docMk/>
            <pc:sldMk cId="3194185217" sldId="5000"/>
            <ac:spMk id="22" creationId="{A41FBB0B-2102-57C6-0AD2-C0EFB2054B00}"/>
          </ac:spMkLst>
        </pc:spChg>
        <pc:spChg chg="mod">
          <ac:chgData name="Jacob, Karen (SPAC/PSPC) (elle-la / she-her)" userId="66e9cce0-e37b-4645-a907-f7690bd68dfb" providerId="ADAL" clId="{871AC57A-6E3B-4D85-BA02-8D6F5065EA89}" dt="2024-06-04T20:04:42.682" v="38"/>
          <ac:spMkLst>
            <pc:docMk/>
            <pc:sldMk cId="3194185217" sldId="5000"/>
            <ac:spMk id="23" creationId="{CAC9BBCC-16BF-2166-C575-6117AF67D5CE}"/>
          </ac:spMkLst>
        </pc:spChg>
        <pc:spChg chg="mod">
          <ac:chgData name="Jacob, Karen (SPAC/PSPC) (elle-la / she-her)" userId="66e9cce0-e37b-4645-a907-f7690bd68dfb" providerId="ADAL" clId="{871AC57A-6E3B-4D85-BA02-8D6F5065EA89}" dt="2024-06-04T20:04:42.682" v="38"/>
          <ac:spMkLst>
            <pc:docMk/>
            <pc:sldMk cId="3194185217" sldId="5000"/>
            <ac:spMk id="24" creationId="{05EA8BE3-E02E-CA95-5F0F-7220417D6DCA}"/>
          </ac:spMkLst>
        </pc:spChg>
        <pc:spChg chg="mod">
          <ac:chgData name="Jacob, Karen (SPAC/PSPC) (elle-la / she-her)" userId="66e9cce0-e37b-4645-a907-f7690bd68dfb" providerId="ADAL" clId="{871AC57A-6E3B-4D85-BA02-8D6F5065EA89}" dt="2024-06-04T20:04:42.682" v="38"/>
          <ac:spMkLst>
            <pc:docMk/>
            <pc:sldMk cId="3194185217" sldId="5000"/>
            <ac:spMk id="25" creationId="{0CFE0E3C-3A84-7713-B94B-DE9EDE116076}"/>
          </ac:spMkLst>
        </pc:spChg>
        <pc:spChg chg="mod">
          <ac:chgData name="Jacob, Karen (SPAC/PSPC) (elle-la / she-her)" userId="66e9cce0-e37b-4645-a907-f7690bd68dfb" providerId="ADAL" clId="{871AC57A-6E3B-4D85-BA02-8D6F5065EA89}" dt="2024-06-04T20:04:42.682" v="38"/>
          <ac:spMkLst>
            <pc:docMk/>
            <pc:sldMk cId="3194185217" sldId="5000"/>
            <ac:spMk id="26" creationId="{77B7338D-24BF-4F85-B000-845B3C243D12}"/>
          </ac:spMkLst>
        </pc:spChg>
        <pc:spChg chg="mod">
          <ac:chgData name="Jacob, Karen (SPAC/PSPC) (elle-la / she-her)" userId="66e9cce0-e37b-4645-a907-f7690bd68dfb" providerId="ADAL" clId="{871AC57A-6E3B-4D85-BA02-8D6F5065EA89}" dt="2024-06-04T20:04:42.682" v="38"/>
          <ac:spMkLst>
            <pc:docMk/>
            <pc:sldMk cId="3194185217" sldId="5000"/>
            <ac:spMk id="27" creationId="{1EADB5FE-B786-833B-39DB-D666DFB0E08B}"/>
          </ac:spMkLst>
        </pc:spChg>
        <pc:spChg chg="mod">
          <ac:chgData name="Jacob, Karen (SPAC/PSPC) (elle-la / she-her)" userId="66e9cce0-e37b-4645-a907-f7690bd68dfb" providerId="ADAL" clId="{871AC57A-6E3B-4D85-BA02-8D6F5065EA89}" dt="2024-06-04T20:04:42.682" v="38"/>
          <ac:spMkLst>
            <pc:docMk/>
            <pc:sldMk cId="3194185217" sldId="5000"/>
            <ac:spMk id="28" creationId="{35255DDD-5061-9149-E987-91D3D6A9ADA5}"/>
          </ac:spMkLst>
        </pc:spChg>
        <pc:spChg chg="mod">
          <ac:chgData name="Jacob, Karen (SPAC/PSPC) (elle-la / she-her)" userId="66e9cce0-e37b-4645-a907-f7690bd68dfb" providerId="ADAL" clId="{871AC57A-6E3B-4D85-BA02-8D6F5065EA89}" dt="2024-06-04T20:04:42.682" v="38"/>
          <ac:spMkLst>
            <pc:docMk/>
            <pc:sldMk cId="3194185217" sldId="5000"/>
            <ac:spMk id="29" creationId="{B769BDBB-1AFF-04EE-0B61-543741C62AE6}"/>
          </ac:spMkLst>
        </pc:spChg>
        <pc:spChg chg="mod">
          <ac:chgData name="Jacob, Karen (SPAC/PSPC) (elle-la / she-her)" userId="66e9cce0-e37b-4645-a907-f7690bd68dfb" providerId="ADAL" clId="{871AC57A-6E3B-4D85-BA02-8D6F5065EA89}" dt="2024-06-04T20:04:42.682" v="38"/>
          <ac:spMkLst>
            <pc:docMk/>
            <pc:sldMk cId="3194185217" sldId="5000"/>
            <ac:spMk id="30" creationId="{796D3174-7925-097A-3DAB-14D6614E2472}"/>
          </ac:spMkLst>
        </pc:spChg>
        <pc:spChg chg="mod">
          <ac:chgData name="Jacob, Karen (SPAC/PSPC) (elle-la / she-her)" userId="66e9cce0-e37b-4645-a907-f7690bd68dfb" providerId="ADAL" clId="{871AC57A-6E3B-4D85-BA02-8D6F5065EA89}" dt="2024-06-04T20:04:42.682" v="38"/>
          <ac:spMkLst>
            <pc:docMk/>
            <pc:sldMk cId="3194185217" sldId="5000"/>
            <ac:spMk id="31" creationId="{82EB5891-A5CA-3892-1503-ECDCEF930CDF}"/>
          </ac:spMkLst>
        </pc:spChg>
        <pc:spChg chg="mod">
          <ac:chgData name="Jacob, Karen (SPAC/PSPC) (elle-la / she-her)" userId="66e9cce0-e37b-4645-a907-f7690bd68dfb" providerId="ADAL" clId="{871AC57A-6E3B-4D85-BA02-8D6F5065EA89}" dt="2024-06-04T20:04:42.682" v="38"/>
          <ac:spMkLst>
            <pc:docMk/>
            <pc:sldMk cId="3194185217" sldId="5000"/>
            <ac:spMk id="32" creationId="{E4E3A91C-A0F3-2DBD-3A42-4B868F01CE67}"/>
          </ac:spMkLst>
        </pc:spChg>
        <pc:spChg chg="mod">
          <ac:chgData name="Jacob, Karen (SPAC/PSPC) (elle-la / she-her)" userId="66e9cce0-e37b-4645-a907-f7690bd68dfb" providerId="ADAL" clId="{871AC57A-6E3B-4D85-BA02-8D6F5065EA89}" dt="2024-06-04T20:04:42.682" v="38"/>
          <ac:spMkLst>
            <pc:docMk/>
            <pc:sldMk cId="3194185217" sldId="5000"/>
            <ac:spMk id="33" creationId="{0887182C-EA58-F4C8-0A6F-6284E60A0077}"/>
          </ac:spMkLst>
        </pc:spChg>
        <pc:spChg chg="mod">
          <ac:chgData name="Jacob, Karen (SPAC/PSPC) (elle-la / she-her)" userId="66e9cce0-e37b-4645-a907-f7690bd68dfb" providerId="ADAL" clId="{871AC57A-6E3B-4D85-BA02-8D6F5065EA89}" dt="2024-06-04T20:04:42.682" v="38"/>
          <ac:spMkLst>
            <pc:docMk/>
            <pc:sldMk cId="3194185217" sldId="5000"/>
            <ac:spMk id="34" creationId="{85F2CEB4-D0CB-A3BD-A40A-DDA728B058F9}"/>
          </ac:spMkLst>
        </pc:spChg>
        <pc:spChg chg="mod">
          <ac:chgData name="Jacob, Karen (SPAC/PSPC) (elle-la / she-her)" userId="66e9cce0-e37b-4645-a907-f7690bd68dfb" providerId="ADAL" clId="{871AC57A-6E3B-4D85-BA02-8D6F5065EA89}" dt="2024-06-04T20:04:42.682" v="38"/>
          <ac:spMkLst>
            <pc:docMk/>
            <pc:sldMk cId="3194185217" sldId="5000"/>
            <ac:spMk id="35" creationId="{F5C5410F-2121-82CA-883E-FE65EBEADE9B}"/>
          </ac:spMkLst>
        </pc:spChg>
        <pc:spChg chg="mod">
          <ac:chgData name="Jacob, Karen (SPAC/PSPC) (elle-la / she-her)" userId="66e9cce0-e37b-4645-a907-f7690bd68dfb" providerId="ADAL" clId="{871AC57A-6E3B-4D85-BA02-8D6F5065EA89}" dt="2024-06-04T20:04:42.682" v="38"/>
          <ac:spMkLst>
            <pc:docMk/>
            <pc:sldMk cId="3194185217" sldId="5000"/>
            <ac:spMk id="36" creationId="{E164CD8B-6519-6488-697B-850EC3B890A6}"/>
          </ac:spMkLst>
        </pc:spChg>
        <pc:spChg chg="mod">
          <ac:chgData name="Jacob, Karen (SPAC/PSPC) (elle-la / she-her)" userId="66e9cce0-e37b-4645-a907-f7690bd68dfb" providerId="ADAL" clId="{871AC57A-6E3B-4D85-BA02-8D6F5065EA89}" dt="2024-06-04T20:04:42.682" v="38"/>
          <ac:spMkLst>
            <pc:docMk/>
            <pc:sldMk cId="3194185217" sldId="5000"/>
            <ac:spMk id="37" creationId="{A8AC4175-8E9A-70C2-56A5-B068A8EFB7D5}"/>
          </ac:spMkLst>
        </pc:spChg>
        <pc:spChg chg="mod">
          <ac:chgData name="Jacob, Karen (SPAC/PSPC) (elle-la / she-her)" userId="66e9cce0-e37b-4645-a907-f7690bd68dfb" providerId="ADAL" clId="{871AC57A-6E3B-4D85-BA02-8D6F5065EA89}" dt="2024-06-04T20:04:42.682" v="38"/>
          <ac:spMkLst>
            <pc:docMk/>
            <pc:sldMk cId="3194185217" sldId="5000"/>
            <ac:spMk id="38" creationId="{67744030-6713-B9D7-0991-3B82A9C289EE}"/>
          </ac:spMkLst>
        </pc:spChg>
        <pc:spChg chg="mod">
          <ac:chgData name="Jacob, Karen (SPAC/PSPC) (elle-la / she-her)" userId="66e9cce0-e37b-4645-a907-f7690bd68dfb" providerId="ADAL" clId="{871AC57A-6E3B-4D85-BA02-8D6F5065EA89}" dt="2024-06-04T20:04:42.682" v="38"/>
          <ac:spMkLst>
            <pc:docMk/>
            <pc:sldMk cId="3194185217" sldId="5000"/>
            <ac:spMk id="39" creationId="{3E97E9F0-DC56-D100-7B11-AEF055A97DCA}"/>
          </ac:spMkLst>
        </pc:spChg>
        <pc:spChg chg="mod">
          <ac:chgData name="Jacob, Karen (SPAC/PSPC) (elle-la / she-her)" userId="66e9cce0-e37b-4645-a907-f7690bd68dfb" providerId="ADAL" clId="{871AC57A-6E3B-4D85-BA02-8D6F5065EA89}" dt="2024-06-04T20:04:42.682" v="38"/>
          <ac:spMkLst>
            <pc:docMk/>
            <pc:sldMk cId="3194185217" sldId="5000"/>
            <ac:spMk id="40" creationId="{F7073BE9-1671-FEE7-C881-346A3AE2C475}"/>
          </ac:spMkLst>
        </pc:spChg>
        <pc:spChg chg="mod">
          <ac:chgData name="Jacob, Karen (SPAC/PSPC) (elle-la / she-her)" userId="66e9cce0-e37b-4645-a907-f7690bd68dfb" providerId="ADAL" clId="{871AC57A-6E3B-4D85-BA02-8D6F5065EA89}" dt="2024-06-04T20:04:42.682" v="38"/>
          <ac:spMkLst>
            <pc:docMk/>
            <pc:sldMk cId="3194185217" sldId="5000"/>
            <ac:spMk id="41" creationId="{06CC2BB9-287A-6152-62E0-425567B829A1}"/>
          </ac:spMkLst>
        </pc:spChg>
        <pc:spChg chg="mod">
          <ac:chgData name="Jacob, Karen (SPAC/PSPC) (elle-la / she-her)" userId="66e9cce0-e37b-4645-a907-f7690bd68dfb" providerId="ADAL" clId="{871AC57A-6E3B-4D85-BA02-8D6F5065EA89}" dt="2024-06-04T20:04:42.682" v="38"/>
          <ac:spMkLst>
            <pc:docMk/>
            <pc:sldMk cId="3194185217" sldId="5000"/>
            <ac:spMk id="42" creationId="{6893D8D9-32DD-CF92-2CC1-CE7B0500E134}"/>
          </ac:spMkLst>
        </pc:spChg>
        <pc:spChg chg="mod">
          <ac:chgData name="Jacob, Karen (SPAC/PSPC) (elle-la / she-her)" userId="66e9cce0-e37b-4645-a907-f7690bd68dfb" providerId="ADAL" clId="{871AC57A-6E3B-4D85-BA02-8D6F5065EA89}" dt="2024-06-04T20:04:42.682" v="38"/>
          <ac:spMkLst>
            <pc:docMk/>
            <pc:sldMk cId="3194185217" sldId="5000"/>
            <ac:spMk id="43" creationId="{C333FD2E-87B7-6B14-3D2B-9E4CCA21AA9E}"/>
          </ac:spMkLst>
        </pc:spChg>
        <pc:spChg chg="mod">
          <ac:chgData name="Jacob, Karen (SPAC/PSPC) (elle-la / she-her)" userId="66e9cce0-e37b-4645-a907-f7690bd68dfb" providerId="ADAL" clId="{871AC57A-6E3B-4D85-BA02-8D6F5065EA89}" dt="2024-06-04T20:04:42.682" v="38"/>
          <ac:spMkLst>
            <pc:docMk/>
            <pc:sldMk cId="3194185217" sldId="5000"/>
            <ac:spMk id="44" creationId="{416A71BF-C1C4-B629-38F7-60E0683827BE}"/>
          </ac:spMkLst>
        </pc:spChg>
        <pc:spChg chg="mod">
          <ac:chgData name="Jacob, Karen (SPAC/PSPC) (elle-la / she-her)" userId="66e9cce0-e37b-4645-a907-f7690bd68dfb" providerId="ADAL" clId="{871AC57A-6E3B-4D85-BA02-8D6F5065EA89}" dt="2024-06-04T20:04:42.682" v="38"/>
          <ac:spMkLst>
            <pc:docMk/>
            <pc:sldMk cId="3194185217" sldId="5000"/>
            <ac:spMk id="45" creationId="{98C5E74F-CC52-BDD5-5039-BC7A60803549}"/>
          </ac:spMkLst>
        </pc:spChg>
        <pc:spChg chg="mod">
          <ac:chgData name="Jacob, Karen (SPAC/PSPC) (elle-la / she-her)" userId="66e9cce0-e37b-4645-a907-f7690bd68dfb" providerId="ADAL" clId="{871AC57A-6E3B-4D85-BA02-8D6F5065EA89}" dt="2024-06-04T20:04:42.682" v="38"/>
          <ac:spMkLst>
            <pc:docMk/>
            <pc:sldMk cId="3194185217" sldId="5000"/>
            <ac:spMk id="46" creationId="{F5D8FDAD-571E-8BED-294E-116FD8CF6864}"/>
          </ac:spMkLst>
        </pc:spChg>
        <pc:spChg chg="mod">
          <ac:chgData name="Jacob, Karen (SPAC/PSPC) (elle-la / she-her)" userId="66e9cce0-e37b-4645-a907-f7690bd68dfb" providerId="ADAL" clId="{871AC57A-6E3B-4D85-BA02-8D6F5065EA89}" dt="2024-06-04T20:04:42.682" v="38"/>
          <ac:spMkLst>
            <pc:docMk/>
            <pc:sldMk cId="3194185217" sldId="5000"/>
            <ac:spMk id="47" creationId="{3B176C01-B35C-12A0-C785-76E84702C722}"/>
          </ac:spMkLst>
        </pc:spChg>
        <pc:spChg chg="mod">
          <ac:chgData name="Jacob, Karen (SPAC/PSPC) (elle-la / she-her)" userId="66e9cce0-e37b-4645-a907-f7690bd68dfb" providerId="ADAL" clId="{871AC57A-6E3B-4D85-BA02-8D6F5065EA89}" dt="2024-06-04T20:04:42.682" v="38"/>
          <ac:spMkLst>
            <pc:docMk/>
            <pc:sldMk cId="3194185217" sldId="5000"/>
            <ac:spMk id="48" creationId="{CBCCEA58-A032-F97E-E1D2-BA10AAA854E1}"/>
          </ac:spMkLst>
        </pc:spChg>
        <pc:spChg chg="mod">
          <ac:chgData name="Jacob, Karen (SPAC/PSPC) (elle-la / she-her)" userId="66e9cce0-e37b-4645-a907-f7690bd68dfb" providerId="ADAL" clId="{871AC57A-6E3B-4D85-BA02-8D6F5065EA89}" dt="2024-06-04T20:04:42.682" v="38"/>
          <ac:spMkLst>
            <pc:docMk/>
            <pc:sldMk cId="3194185217" sldId="5000"/>
            <ac:spMk id="49" creationId="{A13F8D29-D7AF-4059-F46B-DB7C1E8CA600}"/>
          </ac:spMkLst>
        </pc:spChg>
        <pc:spChg chg="mod">
          <ac:chgData name="Jacob, Karen (SPAC/PSPC) (elle-la / she-her)" userId="66e9cce0-e37b-4645-a907-f7690bd68dfb" providerId="ADAL" clId="{871AC57A-6E3B-4D85-BA02-8D6F5065EA89}" dt="2024-06-04T20:04:42.682" v="38"/>
          <ac:spMkLst>
            <pc:docMk/>
            <pc:sldMk cId="3194185217" sldId="5000"/>
            <ac:spMk id="50" creationId="{8B2A6E12-EE1D-E7A4-79CD-487DA302FC38}"/>
          </ac:spMkLst>
        </pc:spChg>
        <pc:spChg chg="mod">
          <ac:chgData name="Jacob, Karen (SPAC/PSPC) (elle-la / she-her)" userId="66e9cce0-e37b-4645-a907-f7690bd68dfb" providerId="ADAL" clId="{871AC57A-6E3B-4D85-BA02-8D6F5065EA89}" dt="2024-06-04T20:04:42.682" v="38"/>
          <ac:spMkLst>
            <pc:docMk/>
            <pc:sldMk cId="3194185217" sldId="5000"/>
            <ac:spMk id="51" creationId="{0B3E6690-78E2-CF8D-8F0F-EA15ECF5FBD6}"/>
          </ac:spMkLst>
        </pc:spChg>
        <pc:spChg chg="mod">
          <ac:chgData name="Jacob, Karen (SPAC/PSPC) (elle-la / she-her)" userId="66e9cce0-e37b-4645-a907-f7690bd68dfb" providerId="ADAL" clId="{871AC57A-6E3B-4D85-BA02-8D6F5065EA89}" dt="2024-06-04T20:04:42.682" v="38"/>
          <ac:spMkLst>
            <pc:docMk/>
            <pc:sldMk cId="3194185217" sldId="5000"/>
            <ac:spMk id="52" creationId="{7DDC9965-13FC-63C2-649C-6DD553949BEA}"/>
          </ac:spMkLst>
        </pc:spChg>
        <pc:spChg chg="mod">
          <ac:chgData name="Jacob, Karen (SPAC/PSPC) (elle-la / she-her)" userId="66e9cce0-e37b-4645-a907-f7690bd68dfb" providerId="ADAL" clId="{871AC57A-6E3B-4D85-BA02-8D6F5065EA89}" dt="2024-06-04T20:04:42.682" v="38"/>
          <ac:spMkLst>
            <pc:docMk/>
            <pc:sldMk cId="3194185217" sldId="5000"/>
            <ac:spMk id="53" creationId="{E8CD7EF2-FC5D-142D-E39A-979698AF67B5}"/>
          </ac:spMkLst>
        </pc:spChg>
        <pc:spChg chg="mod">
          <ac:chgData name="Jacob, Karen (SPAC/PSPC) (elle-la / she-her)" userId="66e9cce0-e37b-4645-a907-f7690bd68dfb" providerId="ADAL" clId="{871AC57A-6E3B-4D85-BA02-8D6F5065EA89}" dt="2024-06-04T20:04:42.682" v="38"/>
          <ac:spMkLst>
            <pc:docMk/>
            <pc:sldMk cId="3194185217" sldId="5000"/>
            <ac:spMk id="54" creationId="{A2738999-A52D-6EBC-35EB-31AA0796BD36}"/>
          </ac:spMkLst>
        </pc:spChg>
        <pc:spChg chg="mod">
          <ac:chgData name="Jacob, Karen (SPAC/PSPC) (elle-la / she-her)" userId="66e9cce0-e37b-4645-a907-f7690bd68dfb" providerId="ADAL" clId="{871AC57A-6E3B-4D85-BA02-8D6F5065EA89}" dt="2024-06-04T20:04:42.682" v="38"/>
          <ac:spMkLst>
            <pc:docMk/>
            <pc:sldMk cId="3194185217" sldId="5000"/>
            <ac:spMk id="55" creationId="{6F996561-7321-3323-DBAF-F6D9CE1FF309}"/>
          </ac:spMkLst>
        </pc:spChg>
        <pc:spChg chg="mod">
          <ac:chgData name="Jacob, Karen (SPAC/PSPC) (elle-la / she-her)" userId="66e9cce0-e37b-4645-a907-f7690bd68dfb" providerId="ADAL" clId="{871AC57A-6E3B-4D85-BA02-8D6F5065EA89}" dt="2024-06-04T20:04:42.682" v="38"/>
          <ac:spMkLst>
            <pc:docMk/>
            <pc:sldMk cId="3194185217" sldId="5000"/>
            <ac:spMk id="56" creationId="{5A3ED452-BE60-181F-9C97-203C7BF40DA7}"/>
          </ac:spMkLst>
        </pc:spChg>
        <pc:spChg chg="mod">
          <ac:chgData name="Jacob, Karen (SPAC/PSPC) (elle-la / she-her)" userId="66e9cce0-e37b-4645-a907-f7690bd68dfb" providerId="ADAL" clId="{871AC57A-6E3B-4D85-BA02-8D6F5065EA89}" dt="2024-06-04T20:04:42.682" v="38"/>
          <ac:spMkLst>
            <pc:docMk/>
            <pc:sldMk cId="3194185217" sldId="5000"/>
            <ac:spMk id="57" creationId="{1EC8989F-4D83-6D20-1012-6F5C584E9D6D}"/>
          </ac:spMkLst>
        </pc:spChg>
        <pc:spChg chg="mod">
          <ac:chgData name="Jacob, Karen (SPAC/PSPC) (elle-la / she-her)" userId="66e9cce0-e37b-4645-a907-f7690bd68dfb" providerId="ADAL" clId="{871AC57A-6E3B-4D85-BA02-8D6F5065EA89}" dt="2024-06-04T20:04:42.682" v="38"/>
          <ac:spMkLst>
            <pc:docMk/>
            <pc:sldMk cId="3194185217" sldId="5000"/>
            <ac:spMk id="58" creationId="{815DE183-7218-A4B1-B860-C06F4309AA3D}"/>
          </ac:spMkLst>
        </pc:spChg>
        <pc:spChg chg="mod">
          <ac:chgData name="Jacob, Karen (SPAC/PSPC) (elle-la / she-her)" userId="66e9cce0-e37b-4645-a907-f7690bd68dfb" providerId="ADAL" clId="{871AC57A-6E3B-4D85-BA02-8D6F5065EA89}" dt="2024-06-04T20:04:42.682" v="38"/>
          <ac:spMkLst>
            <pc:docMk/>
            <pc:sldMk cId="3194185217" sldId="5000"/>
            <ac:spMk id="59" creationId="{0CDCC43A-E910-ADA2-52ED-C41D553C3D75}"/>
          </ac:spMkLst>
        </pc:spChg>
        <pc:spChg chg="mod">
          <ac:chgData name="Jacob, Karen (SPAC/PSPC) (elle-la / she-her)" userId="66e9cce0-e37b-4645-a907-f7690bd68dfb" providerId="ADAL" clId="{871AC57A-6E3B-4D85-BA02-8D6F5065EA89}" dt="2024-06-04T20:04:42.682" v="38"/>
          <ac:spMkLst>
            <pc:docMk/>
            <pc:sldMk cId="3194185217" sldId="5000"/>
            <ac:spMk id="62" creationId="{5782BE9B-2DA4-9E7F-B316-A6EE751FB6AD}"/>
          </ac:spMkLst>
        </pc:spChg>
        <pc:spChg chg="mod">
          <ac:chgData name="Jacob, Karen (SPAC/PSPC) (elle-la / she-her)" userId="66e9cce0-e37b-4645-a907-f7690bd68dfb" providerId="ADAL" clId="{871AC57A-6E3B-4D85-BA02-8D6F5065EA89}" dt="2024-06-04T20:04:42.682" v="38"/>
          <ac:spMkLst>
            <pc:docMk/>
            <pc:sldMk cId="3194185217" sldId="5000"/>
            <ac:spMk id="64" creationId="{45855FC7-0B38-C3F8-AFE7-BDEDD1B91CF4}"/>
          </ac:spMkLst>
        </pc:spChg>
        <pc:spChg chg="mod">
          <ac:chgData name="Jacob, Karen (SPAC/PSPC) (elle-la / she-her)" userId="66e9cce0-e37b-4645-a907-f7690bd68dfb" providerId="ADAL" clId="{871AC57A-6E3B-4D85-BA02-8D6F5065EA89}" dt="2024-06-04T20:04:42.682" v="38"/>
          <ac:spMkLst>
            <pc:docMk/>
            <pc:sldMk cId="3194185217" sldId="5000"/>
            <ac:spMk id="65" creationId="{F1D04CFE-85CE-CB35-D9A6-4088A8212AC2}"/>
          </ac:spMkLst>
        </pc:spChg>
        <pc:spChg chg="mod">
          <ac:chgData name="Jacob, Karen (SPAC/PSPC) (elle-la / she-her)" userId="66e9cce0-e37b-4645-a907-f7690bd68dfb" providerId="ADAL" clId="{871AC57A-6E3B-4D85-BA02-8D6F5065EA89}" dt="2024-06-04T20:04:42.682" v="38"/>
          <ac:spMkLst>
            <pc:docMk/>
            <pc:sldMk cId="3194185217" sldId="5000"/>
            <ac:spMk id="67" creationId="{1321C3BD-88DD-C688-5910-FBAD83F66D2C}"/>
          </ac:spMkLst>
        </pc:spChg>
        <pc:spChg chg="mod">
          <ac:chgData name="Jacob, Karen (SPAC/PSPC) (elle-la / she-her)" userId="66e9cce0-e37b-4645-a907-f7690bd68dfb" providerId="ADAL" clId="{871AC57A-6E3B-4D85-BA02-8D6F5065EA89}" dt="2024-06-04T20:04:42.682" v="38"/>
          <ac:spMkLst>
            <pc:docMk/>
            <pc:sldMk cId="3194185217" sldId="5000"/>
            <ac:spMk id="68" creationId="{AC66B73B-D041-44D2-DE28-1F67D152F3A1}"/>
          </ac:spMkLst>
        </pc:spChg>
        <pc:spChg chg="mod">
          <ac:chgData name="Jacob, Karen (SPAC/PSPC) (elle-la / she-her)" userId="66e9cce0-e37b-4645-a907-f7690bd68dfb" providerId="ADAL" clId="{871AC57A-6E3B-4D85-BA02-8D6F5065EA89}" dt="2024-06-04T20:04:42.682" v="38"/>
          <ac:spMkLst>
            <pc:docMk/>
            <pc:sldMk cId="3194185217" sldId="5000"/>
            <ac:spMk id="69" creationId="{CDB7C5CD-F4AC-8A66-5378-BF3E4CB2B2A8}"/>
          </ac:spMkLst>
        </pc:spChg>
        <pc:spChg chg="mod">
          <ac:chgData name="Jacob, Karen (SPAC/PSPC) (elle-la / she-her)" userId="66e9cce0-e37b-4645-a907-f7690bd68dfb" providerId="ADAL" clId="{871AC57A-6E3B-4D85-BA02-8D6F5065EA89}" dt="2024-06-04T20:04:42.682" v="38"/>
          <ac:spMkLst>
            <pc:docMk/>
            <pc:sldMk cId="3194185217" sldId="5000"/>
            <ac:spMk id="70" creationId="{0345FD51-2B7B-EF07-5887-2EBFDF34C717}"/>
          </ac:spMkLst>
        </pc:spChg>
        <pc:spChg chg="mod">
          <ac:chgData name="Jacob, Karen (SPAC/PSPC) (elle-la / she-her)" userId="66e9cce0-e37b-4645-a907-f7690bd68dfb" providerId="ADAL" clId="{871AC57A-6E3B-4D85-BA02-8D6F5065EA89}" dt="2024-06-04T20:04:42.682" v="38"/>
          <ac:spMkLst>
            <pc:docMk/>
            <pc:sldMk cId="3194185217" sldId="5000"/>
            <ac:spMk id="71" creationId="{C6BF1ADF-E135-B21B-74D8-9F28DBAAFD66}"/>
          </ac:spMkLst>
        </pc:spChg>
        <pc:spChg chg="mod">
          <ac:chgData name="Jacob, Karen (SPAC/PSPC) (elle-la / she-her)" userId="66e9cce0-e37b-4645-a907-f7690bd68dfb" providerId="ADAL" clId="{871AC57A-6E3B-4D85-BA02-8D6F5065EA89}" dt="2024-06-04T20:04:42.682" v="38"/>
          <ac:spMkLst>
            <pc:docMk/>
            <pc:sldMk cId="3194185217" sldId="5000"/>
            <ac:spMk id="72" creationId="{539BFB47-01E8-3E08-8FB1-2F7C72B27323}"/>
          </ac:spMkLst>
        </pc:spChg>
        <pc:spChg chg="mod">
          <ac:chgData name="Jacob, Karen (SPAC/PSPC) (elle-la / she-her)" userId="66e9cce0-e37b-4645-a907-f7690bd68dfb" providerId="ADAL" clId="{871AC57A-6E3B-4D85-BA02-8D6F5065EA89}" dt="2024-06-04T20:04:42.682" v="38"/>
          <ac:spMkLst>
            <pc:docMk/>
            <pc:sldMk cId="3194185217" sldId="5000"/>
            <ac:spMk id="73" creationId="{AC9D358B-D420-79BA-6D60-04D058CBF1FA}"/>
          </ac:spMkLst>
        </pc:spChg>
        <pc:spChg chg="mod">
          <ac:chgData name="Jacob, Karen (SPAC/PSPC) (elle-la / she-her)" userId="66e9cce0-e37b-4645-a907-f7690bd68dfb" providerId="ADAL" clId="{871AC57A-6E3B-4D85-BA02-8D6F5065EA89}" dt="2024-06-04T20:04:42.682" v="38"/>
          <ac:spMkLst>
            <pc:docMk/>
            <pc:sldMk cId="3194185217" sldId="5000"/>
            <ac:spMk id="74" creationId="{1B335456-D634-A7D1-484E-B60B8D80EDC3}"/>
          </ac:spMkLst>
        </pc:spChg>
        <pc:spChg chg="mod">
          <ac:chgData name="Jacob, Karen (SPAC/PSPC) (elle-la / she-her)" userId="66e9cce0-e37b-4645-a907-f7690bd68dfb" providerId="ADAL" clId="{871AC57A-6E3B-4D85-BA02-8D6F5065EA89}" dt="2024-06-04T20:04:42.682" v="38"/>
          <ac:spMkLst>
            <pc:docMk/>
            <pc:sldMk cId="3194185217" sldId="5000"/>
            <ac:spMk id="75" creationId="{21FEA7B0-C92C-4F85-D04E-D2A6ED4CADE4}"/>
          </ac:spMkLst>
        </pc:spChg>
        <pc:spChg chg="mod">
          <ac:chgData name="Jacob, Karen (SPAC/PSPC) (elle-la / she-her)" userId="66e9cce0-e37b-4645-a907-f7690bd68dfb" providerId="ADAL" clId="{871AC57A-6E3B-4D85-BA02-8D6F5065EA89}" dt="2024-06-04T20:04:42.682" v="38"/>
          <ac:spMkLst>
            <pc:docMk/>
            <pc:sldMk cId="3194185217" sldId="5000"/>
            <ac:spMk id="76" creationId="{ABEE8544-1D26-9200-CDF0-D1350CA08421}"/>
          </ac:spMkLst>
        </pc:spChg>
        <pc:spChg chg="mod">
          <ac:chgData name="Jacob, Karen (SPAC/PSPC) (elle-la / she-her)" userId="66e9cce0-e37b-4645-a907-f7690bd68dfb" providerId="ADAL" clId="{871AC57A-6E3B-4D85-BA02-8D6F5065EA89}" dt="2024-06-04T20:04:42.682" v="38"/>
          <ac:spMkLst>
            <pc:docMk/>
            <pc:sldMk cId="3194185217" sldId="5000"/>
            <ac:spMk id="77" creationId="{E44F8EE3-ED60-217F-00DB-6DEA5587984D}"/>
          </ac:spMkLst>
        </pc:spChg>
        <pc:spChg chg="mod">
          <ac:chgData name="Jacob, Karen (SPAC/PSPC) (elle-la / she-her)" userId="66e9cce0-e37b-4645-a907-f7690bd68dfb" providerId="ADAL" clId="{871AC57A-6E3B-4D85-BA02-8D6F5065EA89}" dt="2024-06-04T20:04:42.682" v="38"/>
          <ac:spMkLst>
            <pc:docMk/>
            <pc:sldMk cId="3194185217" sldId="5000"/>
            <ac:spMk id="78" creationId="{721FD5B1-B8E8-81F5-1A1C-B73F2499E044}"/>
          </ac:spMkLst>
        </pc:spChg>
        <pc:spChg chg="mod">
          <ac:chgData name="Jacob, Karen (SPAC/PSPC) (elle-la / she-her)" userId="66e9cce0-e37b-4645-a907-f7690bd68dfb" providerId="ADAL" clId="{871AC57A-6E3B-4D85-BA02-8D6F5065EA89}" dt="2024-06-04T20:04:42.682" v="38"/>
          <ac:spMkLst>
            <pc:docMk/>
            <pc:sldMk cId="3194185217" sldId="5000"/>
            <ac:spMk id="79" creationId="{59CB107C-EFA5-0571-874A-71E040057DA9}"/>
          </ac:spMkLst>
        </pc:spChg>
        <pc:spChg chg="mod">
          <ac:chgData name="Jacob, Karen (SPAC/PSPC) (elle-la / she-her)" userId="66e9cce0-e37b-4645-a907-f7690bd68dfb" providerId="ADAL" clId="{871AC57A-6E3B-4D85-BA02-8D6F5065EA89}" dt="2024-06-04T20:04:42.682" v="38"/>
          <ac:spMkLst>
            <pc:docMk/>
            <pc:sldMk cId="3194185217" sldId="5000"/>
            <ac:spMk id="80" creationId="{3628AC16-36E1-9F26-FCE2-3D4ACC068FED}"/>
          </ac:spMkLst>
        </pc:spChg>
        <pc:spChg chg="mod">
          <ac:chgData name="Jacob, Karen (SPAC/PSPC) (elle-la / she-her)" userId="66e9cce0-e37b-4645-a907-f7690bd68dfb" providerId="ADAL" clId="{871AC57A-6E3B-4D85-BA02-8D6F5065EA89}" dt="2024-06-04T20:04:42.682" v="38"/>
          <ac:spMkLst>
            <pc:docMk/>
            <pc:sldMk cId="3194185217" sldId="5000"/>
            <ac:spMk id="81" creationId="{55B8F6F9-30B5-38AD-5C41-FF97AE574FB1}"/>
          </ac:spMkLst>
        </pc:spChg>
        <pc:spChg chg="mod">
          <ac:chgData name="Jacob, Karen (SPAC/PSPC) (elle-la / she-her)" userId="66e9cce0-e37b-4645-a907-f7690bd68dfb" providerId="ADAL" clId="{871AC57A-6E3B-4D85-BA02-8D6F5065EA89}" dt="2024-06-04T20:04:42.682" v="38"/>
          <ac:spMkLst>
            <pc:docMk/>
            <pc:sldMk cId="3194185217" sldId="5000"/>
            <ac:spMk id="82" creationId="{04074352-6561-469C-9CA8-58B3994C0B48}"/>
          </ac:spMkLst>
        </pc:spChg>
        <pc:spChg chg="mod">
          <ac:chgData name="Jacob, Karen (SPAC/PSPC) (elle-la / she-her)" userId="66e9cce0-e37b-4645-a907-f7690bd68dfb" providerId="ADAL" clId="{871AC57A-6E3B-4D85-BA02-8D6F5065EA89}" dt="2024-06-04T20:04:42.682" v="38"/>
          <ac:spMkLst>
            <pc:docMk/>
            <pc:sldMk cId="3194185217" sldId="5000"/>
            <ac:spMk id="83" creationId="{1FF1D28E-71DB-BB24-D0F9-B7127B862037}"/>
          </ac:spMkLst>
        </pc:spChg>
        <pc:spChg chg="mod">
          <ac:chgData name="Jacob, Karen (SPAC/PSPC) (elle-la / she-her)" userId="66e9cce0-e37b-4645-a907-f7690bd68dfb" providerId="ADAL" clId="{871AC57A-6E3B-4D85-BA02-8D6F5065EA89}" dt="2024-06-04T20:04:42.682" v="38"/>
          <ac:spMkLst>
            <pc:docMk/>
            <pc:sldMk cId="3194185217" sldId="5000"/>
            <ac:spMk id="84" creationId="{4A95BE5C-9695-5A49-5F7B-42E0D306B511}"/>
          </ac:spMkLst>
        </pc:spChg>
        <pc:spChg chg="mod">
          <ac:chgData name="Jacob, Karen (SPAC/PSPC) (elle-la / she-her)" userId="66e9cce0-e37b-4645-a907-f7690bd68dfb" providerId="ADAL" clId="{871AC57A-6E3B-4D85-BA02-8D6F5065EA89}" dt="2024-06-04T20:04:42.682" v="38"/>
          <ac:spMkLst>
            <pc:docMk/>
            <pc:sldMk cId="3194185217" sldId="5000"/>
            <ac:spMk id="85" creationId="{C71A26AD-7EF2-1E88-3459-C38894A489EA}"/>
          </ac:spMkLst>
        </pc:spChg>
        <pc:spChg chg="mod">
          <ac:chgData name="Jacob, Karen (SPAC/PSPC) (elle-la / she-her)" userId="66e9cce0-e37b-4645-a907-f7690bd68dfb" providerId="ADAL" clId="{871AC57A-6E3B-4D85-BA02-8D6F5065EA89}" dt="2024-06-04T20:04:42.682" v="38"/>
          <ac:spMkLst>
            <pc:docMk/>
            <pc:sldMk cId="3194185217" sldId="5000"/>
            <ac:spMk id="86" creationId="{E2DC76E6-D970-DFF5-B90F-B7A37D44948C}"/>
          </ac:spMkLst>
        </pc:spChg>
        <pc:spChg chg="mod">
          <ac:chgData name="Jacob, Karen (SPAC/PSPC) (elle-la / she-her)" userId="66e9cce0-e37b-4645-a907-f7690bd68dfb" providerId="ADAL" clId="{871AC57A-6E3B-4D85-BA02-8D6F5065EA89}" dt="2024-06-04T20:04:42.682" v="38"/>
          <ac:spMkLst>
            <pc:docMk/>
            <pc:sldMk cId="3194185217" sldId="5000"/>
            <ac:spMk id="87" creationId="{F30F4DAF-7030-3561-F330-42BCA5B33E01}"/>
          </ac:spMkLst>
        </pc:spChg>
        <pc:spChg chg="mod">
          <ac:chgData name="Jacob, Karen (SPAC/PSPC) (elle-la / she-her)" userId="66e9cce0-e37b-4645-a907-f7690bd68dfb" providerId="ADAL" clId="{871AC57A-6E3B-4D85-BA02-8D6F5065EA89}" dt="2024-06-04T20:04:42.682" v="38"/>
          <ac:spMkLst>
            <pc:docMk/>
            <pc:sldMk cId="3194185217" sldId="5000"/>
            <ac:spMk id="88" creationId="{3C579C58-B8F2-9B89-39A4-CE396AD876FA}"/>
          </ac:spMkLst>
        </pc:spChg>
        <pc:spChg chg="mod">
          <ac:chgData name="Jacob, Karen (SPAC/PSPC) (elle-la / she-her)" userId="66e9cce0-e37b-4645-a907-f7690bd68dfb" providerId="ADAL" clId="{871AC57A-6E3B-4D85-BA02-8D6F5065EA89}" dt="2024-06-04T20:04:42.682" v="38"/>
          <ac:spMkLst>
            <pc:docMk/>
            <pc:sldMk cId="3194185217" sldId="5000"/>
            <ac:spMk id="89" creationId="{77BAA2A7-9892-D252-FEB0-4274F4B26BFB}"/>
          </ac:spMkLst>
        </pc:spChg>
        <pc:spChg chg="mod">
          <ac:chgData name="Jacob, Karen (SPAC/PSPC) (elle-la / she-her)" userId="66e9cce0-e37b-4645-a907-f7690bd68dfb" providerId="ADAL" clId="{871AC57A-6E3B-4D85-BA02-8D6F5065EA89}" dt="2024-06-04T20:04:42.682" v="38"/>
          <ac:spMkLst>
            <pc:docMk/>
            <pc:sldMk cId="3194185217" sldId="5000"/>
            <ac:spMk id="90" creationId="{20801CB3-FA6C-754B-C6C6-26EDFB7EF772}"/>
          </ac:spMkLst>
        </pc:spChg>
        <pc:spChg chg="mod">
          <ac:chgData name="Jacob, Karen (SPAC/PSPC) (elle-la / she-her)" userId="66e9cce0-e37b-4645-a907-f7690bd68dfb" providerId="ADAL" clId="{871AC57A-6E3B-4D85-BA02-8D6F5065EA89}" dt="2024-06-04T20:04:42.682" v="38"/>
          <ac:spMkLst>
            <pc:docMk/>
            <pc:sldMk cId="3194185217" sldId="5000"/>
            <ac:spMk id="91" creationId="{0200689D-EE6B-6145-A12C-BE279410E9F1}"/>
          </ac:spMkLst>
        </pc:spChg>
        <pc:spChg chg="mod">
          <ac:chgData name="Jacob, Karen (SPAC/PSPC) (elle-la / she-her)" userId="66e9cce0-e37b-4645-a907-f7690bd68dfb" providerId="ADAL" clId="{871AC57A-6E3B-4D85-BA02-8D6F5065EA89}" dt="2024-06-04T20:04:42.682" v="38"/>
          <ac:spMkLst>
            <pc:docMk/>
            <pc:sldMk cId="3194185217" sldId="5000"/>
            <ac:spMk id="92" creationId="{2B387E84-5579-4099-4E6C-397361752321}"/>
          </ac:spMkLst>
        </pc:spChg>
        <pc:spChg chg="mod">
          <ac:chgData name="Jacob, Karen (SPAC/PSPC) (elle-la / she-her)" userId="66e9cce0-e37b-4645-a907-f7690bd68dfb" providerId="ADAL" clId="{871AC57A-6E3B-4D85-BA02-8D6F5065EA89}" dt="2024-06-04T20:04:42.682" v="38"/>
          <ac:spMkLst>
            <pc:docMk/>
            <pc:sldMk cId="3194185217" sldId="5000"/>
            <ac:spMk id="93" creationId="{9A0275B6-C321-7E11-4AF0-0FFBB26A3840}"/>
          </ac:spMkLst>
        </pc:spChg>
        <pc:spChg chg="mod">
          <ac:chgData name="Jacob, Karen (SPAC/PSPC) (elle-la / she-her)" userId="66e9cce0-e37b-4645-a907-f7690bd68dfb" providerId="ADAL" clId="{871AC57A-6E3B-4D85-BA02-8D6F5065EA89}" dt="2024-06-04T20:04:42.682" v="38"/>
          <ac:spMkLst>
            <pc:docMk/>
            <pc:sldMk cId="3194185217" sldId="5000"/>
            <ac:spMk id="94" creationId="{816E36D8-4D0D-276D-9D29-0E1CF4EA29AF}"/>
          </ac:spMkLst>
        </pc:spChg>
        <pc:spChg chg="mod">
          <ac:chgData name="Jacob, Karen (SPAC/PSPC) (elle-la / she-her)" userId="66e9cce0-e37b-4645-a907-f7690bd68dfb" providerId="ADAL" clId="{871AC57A-6E3B-4D85-BA02-8D6F5065EA89}" dt="2024-06-04T20:04:42.682" v="38"/>
          <ac:spMkLst>
            <pc:docMk/>
            <pc:sldMk cId="3194185217" sldId="5000"/>
            <ac:spMk id="95" creationId="{B406834C-98FA-B5CC-19A2-C0A6B60B4A99}"/>
          </ac:spMkLst>
        </pc:spChg>
        <pc:spChg chg="mod">
          <ac:chgData name="Jacob, Karen (SPAC/PSPC) (elle-la / she-her)" userId="66e9cce0-e37b-4645-a907-f7690bd68dfb" providerId="ADAL" clId="{871AC57A-6E3B-4D85-BA02-8D6F5065EA89}" dt="2024-06-04T20:04:42.682" v="38"/>
          <ac:spMkLst>
            <pc:docMk/>
            <pc:sldMk cId="3194185217" sldId="5000"/>
            <ac:spMk id="96" creationId="{D23CECA9-93C2-90B1-7592-4A25ED3A0C27}"/>
          </ac:spMkLst>
        </pc:spChg>
        <pc:spChg chg="mod">
          <ac:chgData name="Jacob, Karen (SPAC/PSPC) (elle-la / she-her)" userId="66e9cce0-e37b-4645-a907-f7690bd68dfb" providerId="ADAL" clId="{871AC57A-6E3B-4D85-BA02-8D6F5065EA89}" dt="2024-06-04T20:04:42.682" v="38"/>
          <ac:spMkLst>
            <pc:docMk/>
            <pc:sldMk cId="3194185217" sldId="5000"/>
            <ac:spMk id="97" creationId="{D72090B6-A1EC-D213-3FC8-3B15E5F8EE7B}"/>
          </ac:spMkLst>
        </pc:spChg>
        <pc:spChg chg="mod">
          <ac:chgData name="Jacob, Karen (SPAC/PSPC) (elle-la / she-her)" userId="66e9cce0-e37b-4645-a907-f7690bd68dfb" providerId="ADAL" clId="{871AC57A-6E3B-4D85-BA02-8D6F5065EA89}" dt="2024-06-04T20:04:42.682" v="38"/>
          <ac:spMkLst>
            <pc:docMk/>
            <pc:sldMk cId="3194185217" sldId="5000"/>
            <ac:spMk id="98" creationId="{ADAB80AC-6DD5-8EE6-B759-3EA42BF3ACFD}"/>
          </ac:spMkLst>
        </pc:spChg>
        <pc:spChg chg="mod">
          <ac:chgData name="Jacob, Karen (SPAC/PSPC) (elle-la / she-her)" userId="66e9cce0-e37b-4645-a907-f7690bd68dfb" providerId="ADAL" clId="{871AC57A-6E3B-4D85-BA02-8D6F5065EA89}" dt="2024-06-04T20:04:42.682" v="38"/>
          <ac:spMkLst>
            <pc:docMk/>
            <pc:sldMk cId="3194185217" sldId="5000"/>
            <ac:spMk id="99" creationId="{389D62A2-FE11-DD73-317F-43A87E51B559}"/>
          </ac:spMkLst>
        </pc:spChg>
        <pc:spChg chg="mod">
          <ac:chgData name="Jacob, Karen (SPAC/PSPC) (elle-la / she-her)" userId="66e9cce0-e37b-4645-a907-f7690bd68dfb" providerId="ADAL" clId="{871AC57A-6E3B-4D85-BA02-8D6F5065EA89}" dt="2024-06-04T20:04:42.682" v="38"/>
          <ac:spMkLst>
            <pc:docMk/>
            <pc:sldMk cId="3194185217" sldId="5000"/>
            <ac:spMk id="100" creationId="{D91AB6BE-C04A-6C05-113A-8ADF629FDD96}"/>
          </ac:spMkLst>
        </pc:spChg>
        <pc:spChg chg="mod">
          <ac:chgData name="Jacob, Karen (SPAC/PSPC) (elle-la / she-her)" userId="66e9cce0-e37b-4645-a907-f7690bd68dfb" providerId="ADAL" clId="{871AC57A-6E3B-4D85-BA02-8D6F5065EA89}" dt="2024-06-04T20:04:42.682" v="38"/>
          <ac:spMkLst>
            <pc:docMk/>
            <pc:sldMk cId="3194185217" sldId="5000"/>
            <ac:spMk id="101" creationId="{D19B3D59-CE70-9AAF-5F4D-AD2B21591581}"/>
          </ac:spMkLst>
        </pc:spChg>
        <pc:spChg chg="mod">
          <ac:chgData name="Jacob, Karen (SPAC/PSPC) (elle-la / she-her)" userId="66e9cce0-e37b-4645-a907-f7690bd68dfb" providerId="ADAL" clId="{871AC57A-6E3B-4D85-BA02-8D6F5065EA89}" dt="2024-06-04T20:04:42.682" v="38"/>
          <ac:spMkLst>
            <pc:docMk/>
            <pc:sldMk cId="3194185217" sldId="5000"/>
            <ac:spMk id="102" creationId="{5F15206B-AF40-C0D7-43C0-FCBF2BE3D662}"/>
          </ac:spMkLst>
        </pc:spChg>
        <pc:spChg chg="mod">
          <ac:chgData name="Jacob, Karen (SPAC/PSPC) (elle-la / she-her)" userId="66e9cce0-e37b-4645-a907-f7690bd68dfb" providerId="ADAL" clId="{871AC57A-6E3B-4D85-BA02-8D6F5065EA89}" dt="2024-06-04T20:04:42.682" v="38"/>
          <ac:spMkLst>
            <pc:docMk/>
            <pc:sldMk cId="3194185217" sldId="5000"/>
            <ac:spMk id="103" creationId="{73BCBDA4-3439-52CC-0AC5-E9A1BA5136E5}"/>
          </ac:spMkLst>
        </pc:spChg>
        <pc:spChg chg="mod">
          <ac:chgData name="Jacob, Karen (SPAC/PSPC) (elle-la / she-her)" userId="66e9cce0-e37b-4645-a907-f7690bd68dfb" providerId="ADAL" clId="{871AC57A-6E3B-4D85-BA02-8D6F5065EA89}" dt="2024-06-04T20:04:42.682" v="38"/>
          <ac:spMkLst>
            <pc:docMk/>
            <pc:sldMk cId="3194185217" sldId="5000"/>
            <ac:spMk id="104" creationId="{3F9EB8F3-DA5A-AF9B-C644-37D3658500E5}"/>
          </ac:spMkLst>
        </pc:spChg>
        <pc:spChg chg="mod">
          <ac:chgData name="Jacob, Karen (SPAC/PSPC) (elle-la / she-her)" userId="66e9cce0-e37b-4645-a907-f7690bd68dfb" providerId="ADAL" clId="{871AC57A-6E3B-4D85-BA02-8D6F5065EA89}" dt="2024-06-04T20:04:42.682" v="38"/>
          <ac:spMkLst>
            <pc:docMk/>
            <pc:sldMk cId="3194185217" sldId="5000"/>
            <ac:spMk id="105" creationId="{8BF6627A-8472-6A0E-56EB-E1B3F5F10BD3}"/>
          </ac:spMkLst>
        </pc:spChg>
        <pc:spChg chg="mod">
          <ac:chgData name="Jacob, Karen (SPAC/PSPC) (elle-la / she-her)" userId="66e9cce0-e37b-4645-a907-f7690bd68dfb" providerId="ADAL" clId="{871AC57A-6E3B-4D85-BA02-8D6F5065EA89}" dt="2024-06-04T20:04:42.682" v="38"/>
          <ac:spMkLst>
            <pc:docMk/>
            <pc:sldMk cId="3194185217" sldId="5000"/>
            <ac:spMk id="106" creationId="{5DD57F77-E0AF-D320-4623-3869B46E9703}"/>
          </ac:spMkLst>
        </pc:spChg>
        <pc:spChg chg="mod">
          <ac:chgData name="Jacob, Karen (SPAC/PSPC) (elle-la / she-her)" userId="66e9cce0-e37b-4645-a907-f7690bd68dfb" providerId="ADAL" clId="{871AC57A-6E3B-4D85-BA02-8D6F5065EA89}" dt="2024-06-04T20:04:42.682" v="38"/>
          <ac:spMkLst>
            <pc:docMk/>
            <pc:sldMk cId="3194185217" sldId="5000"/>
            <ac:spMk id="107" creationId="{DDCD925C-ECC0-F97C-9306-C165B8EA96D1}"/>
          </ac:spMkLst>
        </pc:spChg>
        <pc:spChg chg="mod">
          <ac:chgData name="Jacob, Karen (SPAC/PSPC) (elle-la / she-her)" userId="66e9cce0-e37b-4645-a907-f7690bd68dfb" providerId="ADAL" clId="{871AC57A-6E3B-4D85-BA02-8D6F5065EA89}" dt="2024-06-04T20:04:42.682" v="38"/>
          <ac:spMkLst>
            <pc:docMk/>
            <pc:sldMk cId="3194185217" sldId="5000"/>
            <ac:spMk id="108" creationId="{0E77B50D-F610-6699-DC7D-37A5BDDBAE68}"/>
          </ac:spMkLst>
        </pc:spChg>
        <pc:spChg chg="mod">
          <ac:chgData name="Jacob, Karen (SPAC/PSPC) (elle-la / she-her)" userId="66e9cce0-e37b-4645-a907-f7690bd68dfb" providerId="ADAL" clId="{871AC57A-6E3B-4D85-BA02-8D6F5065EA89}" dt="2024-06-04T20:04:42.682" v="38"/>
          <ac:spMkLst>
            <pc:docMk/>
            <pc:sldMk cId="3194185217" sldId="5000"/>
            <ac:spMk id="109" creationId="{8DC427F7-B6DC-88F8-B838-FFA6C60362CF}"/>
          </ac:spMkLst>
        </pc:spChg>
        <pc:grpChg chg="add mod">
          <ac:chgData name="Jacob, Karen (SPAC/PSPC) (elle-la / she-her)" userId="66e9cce0-e37b-4645-a907-f7690bd68dfb" providerId="ADAL" clId="{871AC57A-6E3B-4D85-BA02-8D6F5065EA89}" dt="2024-06-04T20:04:49.992" v="39" actId="1076"/>
          <ac:grpSpMkLst>
            <pc:docMk/>
            <pc:sldMk cId="3194185217" sldId="5000"/>
            <ac:grpSpMk id="3" creationId="{EAFCA7DA-B3A3-40D1-F2DD-88BF94C0FDEE}"/>
          </ac:grpSpMkLst>
        </pc:grpChg>
        <pc:grpChg chg="mod">
          <ac:chgData name="Jacob, Karen (SPAC/PSPC) (elle-la / she-her)" userId="66e9cce0-e37b-4645-a907-f7690bd68dfb" providerId="ADAL" clId="{871AC57A-6E3B-4D85-BA02-8D6F5065EA89}" dt="2024-06-04T20:04:42.682" v="38"/>
          <ac:grpSpMkLst>
            <pc:docMk/>
            <pc:sldMk cId="3194185217" sldId="5000"/>
            <ac:grpSpMk id="6" creationId="{0DE56BB4-308D-A654-219C-A500E6723FB2}"/>
          </ac:grpSpMkLst>
        </pc:grpChg>
        <pc:grpChg chg="mod">
          <ac:chgData name="Jacob, Karen (SPAC/PSPC) (elle-la / she-her)" userId="66e9cce0-e37b-4645-a907-f7690bd68dfb" providerId="ADAL" clId="{871AC57A-6E3B-4D85-BA02-8D6F5065EA89}" dt="2024-06-04T20:04:42.682" v="38"/>
          <ac:grpSpMkLst>
            <pc:docMk/>
            <pc:sldMk cId="3194185217" sldId="5000"/>
            <ac:grpSpMk id="7" creationId="{3CE29C31-5266-A23D-B16D-8E36CF33D450}"/>
          </ac:grpSpMkLst>
        </pc:grpChg>
        <pc:grpChg chg="mod">
          <ac:chgData name="Jacob, Karen (SPAC/PSPC) (elle-la / she-her)" userId="66e9cce0-e37b-4645-a907-f7690bd68dfb" providerId="ADAL" clId="{871AC57A-6E3B-4D85-BA02-8D6F5065EA89}" dt="2024-06-04T20:04:42.682" v="38"/>
          <ac:grpSpMkLst>
            <pc:docMk/>
            <pc:sldMk cId="3194185217" sldId="5000"/>
            <ac:grpSpMk id="10" creationId="{3D5CB0FE-E0FC-FBD6-513D-6DFA83E357B9}"/>
          </ac:grpSpMkLst>
        </pc:grpChg>
        <pc:grpChg chg="mod">
          <ac:chgData name="Jacob, Karen (SPAC/PSPC) (elle-la / she-her)" userId="66e9cce0-e37b-4645-a907-f7690bd68dfb" providerId="ADAL" clId="{871AC57A-6E3B-4D85-BA02-8D6F5065EA89}" dt="2024-06-04T20:04:42.682" v="38"/>
          <ac:grpSpMkLst>
            <pc:docMk/>
            <pc:sldMk cId="3194185217" sldId="5000"/>
            <ac:grpSpMk id="13" creationId="{F749FBA4-6C9D-0CDF-7180-93E2D3A08598}"/>
          </ac:grpSpMkLst>
        </pc:grpChg>
        <pc:grpChg chg="mod">
          <ac:chgData name="Jacob, Karen (SPAC/PSPC) (elle-la / she-her)" userId="66e9cce0-e37b-4645-a907-f7690bd68dfb" providerId="ADAL" clId="{871AC57A-6E3B-4D85-BA02-8D6F5065EA89}" dt="2024-06-04T20:04:42.682" v="38"/>
          <ac:grpSpMkLst>
            <pc:docMk/>
            <pc:sldMk cId="3194185217" sldId="5000"/>
            <ac:grpSpMk id="16" creationId="{AF651BEA-62A1-A2B8-AAC2-489C44D92640}"/>
          </ac:grpSpMkLst>
        </pc:grpChg>
        <pc:grpChg chg="mod">
          <ac:chgData name="Jacob, Karen (SPAC/PSPC) (elle-la / she-her)" userId="66e9cce0-e37b-4645-a907-f7690bd68dfb" providerId="ADAL" clId="{871AC57A-6E3B-4D85-BA02-8D6F5065EA89}" dt="2024-06-04T20:04:42.682" v="38"/>
          <ac:grpSpMkLst>
            <pc:docMk/>
            <pc:sldMk cId="3194185217" sldId="5000"/>
            <ac:grpSpMk id="60" creationId="{82FE7FD9-8BD5-08EF-9E22-AFEFFCC4C5B5}"/>
          </ac:grpSpMkLst>
        </pc:grpChg>
        <pc:grpChg chg="mod">
          <ac:chgData name="Jacob, Karen (SPAC/PSPC) (elle-la / she-her)" userId="66e9cce0-e37b-4645-a907-f7690bd68dfb" providerId="ADAL" clId="{871AC57A-6E3B-4D85-BA02-8D6F5065EA89}" dt="2024-06-04T20:04:42.682" v="38"/>
          <ac:grpSpMkLst>
            <pc:docMk/>
            <pc:sldMk cId="3194185217" sldId="5000"/>
            <ac:grpSpMk id="63" creationId="{1F253533-8F61-A98F-A047-62E035D20E2F}"/>
          </ac:grpSpMkLst>
        </pc:grpChg>
        <pc:grpChg chg="mod">
          <ac:chgData name="Jacob, Karen (SPAC/PSPC) (elle-la / she-her)" userId="66e9cce0-e37b-4645-a907-f7690bd68dfb" providerId="ADAL" clId="{871AC57A-6E3B-4D85-BA02-8D6F5065EA89}" dt="2024-06-04T20:04:42.682" v="38"/>
          <ac:grpSpMkLst>
            <pc:docMk/>
            <pc:sldMk cId="3194185217" sldId="5000"/>
            <ac:grpSpMk id="66" creationId="{B5065F49-4327-3E58-27D6-B67BE6060D1F}"/>
          </ac:grpSpMkLst>
        </pc:grpChg>
        <pc:picChg chg="mod">
          <ac:chgData name="Jacob, Karen (SPAC/PSPC) (elle-la / she-her)" userId="66e9cce0-e37b-4645-a907-f7690bd68dfb" providerId="ADAL" clId="{871AC57A-6E3B-4D85-BA02-8D6F5065EA89}" dt="2024-06-04T20:04:42.682" v="38"/>
          <ac:picMkLst>
            <pc:docMk/>
            <pc:sldMk cId="3194185217" sldId="5000"/>
            <ac:picMk id="9" creationId="{9F8A92B7-6443-26F8-64F5-FA19B8FA9AF0}"/>
          </ac:picMkLst>
        </pc:picChg>
        <pc:picChg chg="mod">
          <ac:chgData name="Jacob, Karen (SPAC/PSPC) (elle-la / she-her)" userId="66e9cce0-e37b-4645-a907-f7690bd68dfb" providerId="ADAL" clId="{871AC57A-6E3B-4D85-BA02-8D6F5065EA89}" dt="2024-06-04T20:04:42.682" v="38"/>
          <ac:picMkLst>
            <pc:docMk/>
            <pc:sldMk cId="3194185217" sldId="5000"/>
            <ac:picMk id="11" creationId="{643117AF-11BB-4D82-F9B1-D3525CF74A00}"/>
          </ac:picMkLst>
        </pc:picChg>
        <pc:picChg chg="mod">
          <ac:chgData name="Jacob, Karen (SPAC/PSPC) (elle-la / she-her)" userId="66e9cce0-e37b-4645-a907-f7690bd68dfb" providerId="ADAL" clId="{871AC57A-6E3B-4D85-BA02-8D6F5065EA89}" dt="2024-06-04T20:04:42.682" v="38"/>
          <ac:picMkLst>
            <pc:docMk/>
            <pc:sldMk cId="3194185217" sldId="5000"/>
            <ac:picMk id="61" creationId="{32F0EB88-3179-2E20-D0A5-98588731AA8B}"/>
          </ac:picMkLst>
        </pc:picChg>
        <pc:extLst>
          <p:ext xmlns:p="http://schemas.openxmlformats.org/presentationml/2006/main" uri="{D6D511B9-2390-475A-947B-AFAB55BFBCF1}">
            <pc226:cmChg xmlns:pc226="http://schemas.microsoft.com/office/powerpoint/2022/06/main/command" chg="add mod">
              <pc226:chgData name="Jacob, Karen (SPAC/PSPC) (elle-la / she-her)" userId="66e9cce0-e37b-4645-a907-f7690bd68dfb" providerId="ADAL" clId="{871AC57A-6E3B-4D85-BA02-8D6F5065EA89}" dt="2024-06-05T17:44:18.013" v="141"/>
              <pc2:cmMkLst xmlns:pc2="http://schemas.microsoft.com/office/powerpoint/2019/9/main/command">
                <pc:docMk/>
                <pc:sldMk cId="3194185217" sldId="5000"/>
                <pc2:cmMk id="{D8AF41D7-EAFF-41AE-AAA6-A98B0A870B29}"/>
              </pc2:cmMkLst>
            </pc226:cmChg>
          </p:ext>
        </pc:extLst>
      </pc:sldChg>
      <pc:sldChg chg="addSp modSp new mod">
        <pc:chgData name="Jacob, Karen (SPAC/PSPC) (elle-la / she-her)" userId="66e9cce0-e37b-4645-a907-f7690bd68dfb" providerId="ADAL" clId="{871AC57A-6E3B-4D85-BA02-8D6F5065EA89}" dt="2024-06-05T17:37:25.404" v="102" actId="20577"/>
        <pc:sldMkLst>
          <pc:docMk/>
          <pc:sldMk cId="518497710" sldId="5001"/>
        </pc:sldMkLst>
        <pc:spChg chg="mod">
          <ac:chgData name="Jacob, Karen (SPAC/PSPC) (elle-la / she-her)" userId="66e9cce0-e37b-4645-a907-f7690bd68dfb" providerId="ADAL" clId="{871AC57A-6E3B-4D85-BA02-8D6F5065EA89}" dt="2024-06-05T17:37:25.404" v="102" actId="20577"/>
          <ac:spMkLst>
            <pc:docMk/>
            <pc:sldMk cId="518497710" sldId="5001"/>
            <ac:spMk id="2" creationId="{A08B4284-4C03-05F5-D379-8D8D6E310467}"/>
          </ac:spMkLst>
        </pc:spChg>
        <pc:spChg chg="mod">
          <ac:chgData name="Jacob, Karen (SPAC/PSPC) (elle-la / she-her)" userId="66e9cce0-e37b-4645-a907-f7690bd68dfb" providerId="ADAL" clId="{871AC57A-6E3B-4D85-BA02-8D6F5065EA89}" dt="2024-06-05T17:37:10.834" v="89"/>
          <ac:spMkLst>
            <pc:docMk/>
            <pc:sldMk cId="518497710" sldId="5001"/>
            <ac:spMk id="6" creationId="{1EBFD59E-84D8-DA47-03B4-51CCCB6899B7}"/>
          </ac:spMkLst>
        </pc:spChg>
        <pc:spChg chg="mod">
          <ac:chgData name="Jacob, Karen (SPAC/PSPC) (elle-la / she-her)" userId="66e9cce0-e37b-4645-a907-f7690bd68dfb" providerId="ADAL" clId="{871AC57A-6E3B-4D85-BA02-8D6F5065EA89}" dt="2024-06-05T17:37:10.834" v="89"/>
          <ac:spMkLst>
            <pc:docMk/>
            <pc:sldMk cId="518497710" sldId="5001"/>
            <ac:spMk id="7" creationId="{CF63B6AD-D3BF-5F19-F196-DD2AEBEFE788}"/>
          </ac:spMkLst>
        </pc:spChg>
        <pc:spChg chg="mod">
          <ac:chgData name="Jacob, Karen (SPAC/PSPC) (elle-la / she-her)" userId="66e9cce0-e37b-4645-a907-f7690bd68dfb" providerId="ADAL" clId="{871AC57A-6E3B-4D85-BA02-8D6F5065EA89}" dt="2024-06-05T17:37:10.834" v="89"/>
          <ac:spMkLst>
            <pc:docMk/>
            <pc:sldMk cId="518497710" sldId="5001"/>
            <ac:spMk id="10" creationId="{457CC8A1-BCD8-7A86-B793-B14808DD7564}"/>
          </ac:spMkLst>
        </pc:spChg>
        <pc:spChg chg="mod">
          <ac:chgData name="Jacob, Karen (SPAC/PSPC) (elle-la / she-her)" userId="66e9cce0-e37b-4645-a907-f7690bd68dfb" providerId="ADAL" clId="{871AC57A-6E3B-4D85-BA02-8D6F5065EA89}" dt="2024-06-05T17:37:10.834" v="89"/>
          <ac:spMkLst>
            <pc:docMk/>
            <pc:sldMk cId="518497710" sldId="5001"/>
            <ac:spMk id="11" creationId="{56731887-2EBE-E547-4EBB-5B5933DDE1A8}"/>
          </ac:spMkLst>
        </pc:spChg>
        <pc:spChg chg="mod">
          <ac:chgData name="Jacob, Karen (SPAC/PSPC) (elle-la / she-her)" userId="66e9cce0-e37b-4645-a907-f7690bd68dfb" providerId="ADAL" clId="{871AC57A-6E3B-4D85-BA02-8D6F5065EA89}" dt="2024-06-05T17:37:10.834" v="89"/>
          <ac:spMkLst>
            <pc:docMk/>
            <pc:sldMk cId="518497710" sldId="5001"/>
            <ac:spMk id="20" creationId="{1320EC92-EEAC-DB95-E6E9-7763D5319CE4}"/>
          </ac:spMkLst>
        </pc:spChg>
        <pc:spChg chg="mod">
          <ac:chgData name="Jacob, Karen (SPAC/PSPC) (elle-la / she-her)" userId="66e9cce0-e37b-4645-a907-f7690bd68dfb" providerId="ADAL" clId="{871AC57A-6E3B-4D85-BA02-8D6F5065EA89}" dt="2024-06-05T17:37:10.834" v="89"/>
          <ac:spMkLst>
            <pc:docMk/>
            <pc:sldMk cId="518497710" sldId="5001"/>
            <ac:spMk id="23" creationId="{048D18F6-589B-C970-7ADB-93C7EEDD478A}"/>
          </ac:spMkLst>
        </pc:spChg>
        <pc:spChg chg="mod">
          <ac:chgData name="Jacob, Karen (SPAC/PSPC) (elle-la / she-her)" userId="66e9cce0-e37b-4645-a907-f7690bd68dfb" providerId="ADAL" clId="{871AC57A-6E3B-4D85-BA02-8D6F5065EA89}" dt="2024-06-05T17:37:10.834" v="89"/>
          <ac:spMkLst>
            <pc:docMk/>
            <pc:sldMk cId="518497710" sldId="5001"/>
            <ac:spMk id="26" creationId="{D8E6845A-468F-6E8C-CA13-3A84AB2C2FC2}"/>
          </ac:spMkLst>
        </pc:spChg>
        <pc:spChg chg="mod">
          <ac:chgData name="Jacob, Karen (SPAC/PSPC) (elle-la / she-her)" userId="66e9cce0-e37b-4645-a907-f7690bd68dfb" providerId="ADAL" clId="{871AC57A-6E3B-4D85-BA02-8D6F5065EA89}" dt="2024-06-05T17:37:10.834" v="89"/>
          <ac:spMkLst>
            <pc:docMk/>
            <pc:sldMk cId="518497710" sldId="5001"/>
            <ac:spMk id="27" creationId="{7B28D700-3A0B-C02A-3B7F-562CA82AE148}"/>
          </ac:spMkLst>
        </pc:spChg>
        <pc:spChg chg="mod">
          <ac:chgData name="Jacob, Karen (SPAC/PSPC) (elle-la / she-her)" userId="66e9cce0-e37b-4645-a907-f7690bd68dfb" providerId="ADAL" clId="{871AC57A-6E3B-4D85-BA02-8D6F5065EA89}" dt="2024-06-05T17:37:10.834" v="89"/>
          <ac:spMkLst>
            <pc:docMk/>
            <pc:sldMk cId="518497710" sldId="5001"/>
            <ac:spMk id="28" creationId="{A13B2825-4E33-9469-8E79-3A696E1FC532}"/>
          </ac:spMkLst>
        </pc:spChg>
        <pc:spChg chg="mod">
          <ac:chgData name="Jacob, Karen (SPAC/PSPC) (elle-la / she-her)" userId="66e9cce0-e37b-4645-a907-f7690bd68dfb" providerId="ADAL" clId="{871AC57A-6E3B-4D85-BA02-8D6F5065EA89}" dt="2024-06-05T17:37:10.834" v="89"/>
          <ac:spMkLst>
            <pc:docMk/>
            <pc:sldMk cId="518497710" sldId="5001"/>
            <ac:spMk id="32" creationId="{73CA3B37-C493-D4DC-C990-3D0CEACCF5CE}"/>
          </ac:spMkLst>
        </pc:spChg>
        <pc:spChg chg="mod">
          <ac:chgData name="Jacob, Karen (SPAC/PSPC) (elle-la / she-her)" userId="66e9cce0-e37b-4645-a907-f7690bd68dfb" providerId="ADAL" clId="{871AC57A-6E3B-4D85-BA02-8D6F5065EA89}" dt="2024-06-05T17:37:10.834" v="89"/>
          <ac:spMkLst>
            <pc:docMk/>
            <pc:sldMk cId="518497710" sldId="5001"/>
            <ac:spMk id="34" creationId="{6E97C84B-A870-D382-844F-10908278D3D2}"/>
          </ac:spMkLst>
        </pc:spChg>
        <pc:spChg chg="mod">
          <ac:chgData name="Jacob, Karen (SPAC/PSPC) (elle-la / she-her)" userId="66e9cce0-e37b-4645-a907-f7690bd68dfb" providerId="ADAL" clId="{871AC57A-6E3B-4D85-BA02-8D6F5065EA89}" dt="2024-06-05T17:37:10.834" v="89"/>
          <ac:spMkLst>
            <pc:docMk/>
            <pc:sldMk cId="518497710" sldId="5001"/>
            <ac:spMk id="37" creationId="{3E01CE16-DD57-54D0-D5C2-5477E6E326C9}"/>
          </ac:spMkLst>
        </pc:spChg>
        <pc:spChg chg="mod">
          <ac:chgData name="Jacob, Karen (SPAC/PSPC) (elle-la / she-her)" userId="66e9cce0-e37b-4645-a907-f7690bd68dfb" providerId="ADAL" clId="{871AC57A-6E3B-4D85-BA02-8D6F5065EA89}" dt="2024-06-05T17:37:10.834" v="89"/>
          <ac:spMkLst>
            <pc:docMk/>
            <pc:sldMk cId="518497710" sldId="5001"/>
            <ac:spMk id="38" creationId="{B49642AC-7882-5944-543A-BBBF2BB08728}"/>
          </ac:spMkLst>
        </pc:spChg>
        <pc:spChg chg="mod">
          <ac:chgData name="Jacob, Karen (SPAC/PSPC) (elle-la / she-her)" userId="66e9cce0-e37b-4645-a907-f7690bd68dfb" providerId="ADAL" clId="{871AC57A-6E3B-4D85-BA02-8D6F5065EA89}" dt="2024-06-05T17:37:10.834" v="89"/>
          <ac:spMkLst>
            <pc:docMk/>
            <pc:sldMk cId="518497710" sldId="5001"/>
            <ac:spMk id="39" creationId="{7DB85A7B-7D3B-1CD1-8FFD-619C75D813CC}"/>
          </ac:spMkLst>
        </pc:spChg>
        <pc:spChg chg="mod">
          <ac:chgData name="Jacob, Karen (SPAC/PSPC) (elle-la / she-her)" userId="66e9cce0-e37b-4645-a907-f7690bd68dfb" providerId="ADAL" clId="{871AC57A-6E3B-4D85-BA02-8D6F5065EA89}" dt="2024-06-05T17:37:10.834" v="89"/>
          <ac:spMkLst>
            <pc:docMk/>
            <pc:sldMk cId="518497710" sldId="5001"/>
            <ac:spMk id="40" creationId="{83C25A54-2AA7-3E16-0F85-6BFDE0EF284D}"/>
          </ac:spMkLst>
        </pc:spChg>
        <pc:spChg chg="mod">
          <ac:chgData name="Jacob, Karen (SPAC/PSPC) (elle-la / she-her)" userId="66e9cce0-e37b-4645-a907-f7690bd68dfb" providerId="ADAL" clId="{871AC57A-6E3B-4D85-BA02-8D6F5065EA89}" dt="2024-06-05T17:37:10.834" v="89"/>
          <ac:spMkLst>
            <pc:docMk/>
            <pc:sldMk cId="518497710" sldId="5001"/>
            <ac:spMk id="41" creationId="{3F3A0FF6-20D4-BA82-2A57-6840D1CDC073}"/>
          </ac:spMkLst>
        </pc:spChg>
        <pc:spChg chg="mod">
          <ac:chgData name="Jacob, Karen (SPAC/PSPC) (elle-la / she-her)" userId="66e9cce0-e37b-4645-a907-f7690bd68dfb" providerId="ADAL" clId="{871AC57A-6E3B-4D85-BA02-8D6F5065EA89}" dt="2024-06-05T17:37:10.834" v="89"/>
          <ac:spMkLst>
            <pc:docMk/>
            <pc:sldMk cId="518497710" sldId="5001"/>
            <ac:spMk id="42" creationId="{6BD7DDAD-5332-1C69-3B76-707D89C053EC}"/>
          </ac:spMkLst>
        </pc:spChg>
        <pc:spChg chg="mod">
          <ac:chgData name="Jacob, Karen (SPAC/PSPC) (elle-la / she-her)" userId="66e9cce0-e37b-4645-a907-f7690bd68dfb" providerId="ADAL" clId="{871AC57A-6E3B-4D85-BA02-8D6F5065EA89}" dt="2024-06-05T17:37:10.834" v="89"/>
          <ac:spMkLst>
            <pc:docMk/>
            <pc:sldMk cId="518497710" sldId="5001"/>
            <ac:spMk id="43" creationId="{9B2D08C8-7EB8-84F1-FC11-2A862F0C55E2}"/>
          </ac:spMkLst>
        </pc:spChg>
        <pc:spChg chg="mod">
          <ac:chgData name="Jacob, Karen (SPAC/PSPC) (elle-la / she-her)" userId="66e9cce0-e37b-4645-a907-f7690bd68dfb" providerId="ADAL" clId="{871AC57A-6E3B-4D85-BA02-8D6F5065EA89}" dt="2024-06-05T17:37:10.834" v="89"/>
          <ac:spMkLst>
            <pc:docMk/>
            <pc:sldMk cId="518497710" sldId="5001"/>
            <ac:spMk id="46" creationId="{5B6C7E67-1284-AB7F-933C-A3977E14505D}"/>
          </ac:spMkLst>
        </pc:spChg>
        <pc:spChg chg="mod">
          <ac:chgData name="Jacob, Karen (SPAC/PSPC) (elle-la / she-her)" userId="66e9cce0-e37b-4645-a907-f7690bd68dfb" providerId="ADAL" clId="{871AC57A-6E3B-4D85-BA02-8D6F5065EA89}" dt="2024-06-05T17:37:10.834" v="89"/>
          <ac:spMkLst>
            <pc:docMk/>
            <pc:sldMk cId="518497710" sldId="5001"/>
            <ac:spMk id="47" creationId="{413A0251-9E2C-6D19-7CD8-C14960D99BAC}"/>
          </ac:spMkLst>
        </pc:spChg>
        <pc:spChg chg="mod">
          <ac:chgData name="Jacob, Karen (SPAC/PSPC) (elle-la / she-her)" userId="66e9cce0-e37b-4645-a907-f7690bd68dfb" providerId="ADAL" clId="{871AC57A-6E3B-4D85-BA02-8D6F5065EA89}" dt="2024-06-05T17:37:10.834" v="89"/>
          <ac:spMkLst>
            <pc:docMk/>
            <pc:sldMk cId="518497710" sldId="5001"/>
            <ac:spMk id="48" creationId="{844E08BC-76D2-E8B3-5127-4E2A501BE785}"/>
          </ac:spMkLst>
        </pc:spChg>
        <pc:grpChg chg="add mod">
          <ac:chgData name="Jacob, Karen (SPAC/PSPC) (elle-la / she-her)" userId="66e9cce0-e37b-4645-a907-f7690bd68dfb" providerId="ADAL" clId="{871AC57A-6E3B-4D85-BA02-8D6F5065EA89}" dt="2024-06-05T17:37:14.009" v="90" actId="1076"/>
          <ac:grpSpMkLst>
            <pc:docMk/>
            <pc:sldMk cId="518497710" sldId="5001"/>
            <ac:grpSpMk id="3" creationId="{625C7B17-67B0-B769-0CCA-517263916851}"/>
          </ac:grpSpMkLst>
        </pc:grpChg>
        <pc:grpChg chg="mod">
          <ac:chgData name="Jacob, Karen (SPAC/PSPC) (elle-la / she-her)" userId="66e9cce0-e37b-4645-a907-f7690bd68dfb" providerId="ADAL" clId="{871AC57A-6E3B-4D85-BA02-8D6F5065EA89}" dt="2024-06-05T17:37:10.834" v="89"/>
          <ac:grpSpMkLst>
            <pc:docMk/>
            <pc:sldMk cId="518497710" sldId="5001"/>
            <ac:grpSpMk id="4" creationId="{B0C2251F-D48F-28F2-3B94-FA446FFF33C3}"/>
          </ac:grpSpMkLst>
        </pc:grpChg>
        <pc:grpChg chg="mod">
          <ac:chgData name="Jacob, Karen (SPAC/PSPC) (elle-la / she-her)" userId="66e9cce0-e37b-4645-a907-f7690bd68dfb" providerId="ADAL" clId="{871AC57A-6E3B-4D85-BA02-8D6F5065EA89}" dt="2024-06-05T17:37:10.834" v="89"/>
          <ac:grpSpMkLst>
            <pc:docMk/>
            <pc:sldMk cId="518497710" sldId="5001"/>
            <ac:grpSpMk id="5" creationId="{C92F5D3B-DBF4-64BB-F6B5-C78A080280CC}"/>
          </ac:grpSpMkLst>
        </pc:grpChg>
        <pc:grpChg chg="mod">
          <ac:chgData name="Jacob, Karen (SPAC/PSPC) (elle-la / she-her)" userId="66e9cce0-e37b-4645-a907-f7690bd68dfb" providerId="ADAL" clId="{871AC57A-6E3B-4D85-BA02-8D6F5065EA89}" dt="2024-06-05T17:37:10.834" v="89"/>
          <ac:grpSpMkLst>
            <pc:docMk/>
            <pc:sldMk cId="518497710" sldId="5001"/>
            <ac:grpSpMk id="8" creationId="{62A2C0C6-453A-45C9-7503-FA6BCBA32454}"/>
          </ac:grpSpMkLst>
        </pc:grpChg>
        <pc:grpChg chg="mod">
          <ac:chgData name="Jacob, Karen (SPAC/PSPC) (elle-la / she-her)" userId="66e9cce0-e37b-4645-a907-f7690bd68dfb" providerId="ADAL" clId="{871AC57A-6E3B-4D85-BA02-8D6F5065EA89}" dt="2024-06-05T17:37:10.834" v="89"/>
          <ac:grpSpMkLst>
            <pc:docMk/>
            <pc:sldMk cId="518497710" sldId="5001"/>
            <ac:grpSpMk id="9" creationId="{17D615BB-9901-A0AB-B1EE-65A9B81DEA53}"/>
          </ac:grpSpMkLst>
        </pc:grpChg>
        <pc:grpChg chg="mod">
          <ac:chgData name="Jacob, Karen (SPAC/PSPC) (elle-la / she-her)" userId="66e9cce0-e37b-4645-a907-f7690bd68dfb" providerId="ADAL" clId="{871AC57A-6E3B-4D85-BA02-8D6F5065EA89}" dt="2024-06-05T17:37:10.834" v="89"/>
          <ac:grpSpMkLst>
            <pc:docMk/>
            <pc:sldMk cId="518497710" sldId="5001"/>
            <ac:grpSpMk id="12" creationId="{A2AF9731-B461-7E98-7A68-9289BF9965B2}"/>
          </ac:grpSpMkLst>
        </pc:grpChg>
        <pc:grpChg chg="mod">
          <ac:chgData name="Jacob, Karen (SPAC/PSPC) (elle-la / she-her)" userId="66e9cce0-e37b-4645-a907-f7690bd68dfb" providerId="ADAL" clId="{871AC57A-6E3B-4D85-BA02-8D6F5065EA89}" dt="2024-06-05T17:37:10.834" v="89"/>
          <ac:grpSpMkLst>
            <pc:docMk/>
            <pc:sldMk cId="518497710" sldId="5001"/>
            <ac:grpSpMk id="13" creationId="{9F38E8B2-2E1F-AAE4-990B-50A5D8493565}"/>
          </ac:grpSpMkLst>
        </pc:grpChg>
        <pc:grpChg chg="mod">
          <ac:chgData name="Jacob, Karen (SPAC/PSPC) (elle-la / she-her)" userId="66e9cce0-e37b-4645-a907-f7690bd68dfb" providerId="ADAL" clId="{871AC57A-6E3B-4D85-BA02-8D6F5065EA89}" dt="2024-06-05T17:37:10.834" v="89"/>
          <ac:grpSpMkLst>
            <pc:docMk/>
            <pc:sldMk cId="518497710" sldId="5001"/>
            <ac:grpSpMk id="22" creationId="{F4470CBE-D7C2-6E14-9E56-6529C36CD845}"/>
          </ac:grpSpMkLst>
        </pc:grpChg>
        <pc:grpChg chg="mod">
          <ac:chgData name="Jacob, Karen (SPAC/PSPC) (elle-la / she-her)" userId="66e9cce0-e37b-4645-a907-f7690bd68dfb" providerId="ADAL" clId="{871AC57A-6E3B-4D85-BA02-8D6F5065EA89}" dt="2024-06-05T17:37:10.834" v="89"/>
          <ac:grpSpMkLst>
            <pc:docMk/>
            <pc:sldMk cId="518497710" sldId="5001"/>
            <ac:grpSpMk id="24" creationId="{F68B19A1-69FE-ED36-6B08-E37808532037}"/>
          </ac:grpSpMkLst>
        </pc:grpChg>
        <pc:grpChg chg="mod">
          <ac:chgData name="Jacob, Karen (SPAC/PSPC) (elle-la / she-her)" userId="66e9cce0-e37b-4645-a907-f7690bd68dfb" providerId="ADAL" clId="{871AC57A-6E3B-4D85-BA02-8D6F5065EA89}" dt="2024-06-05T17:37:10.834" v="89"/>
          <ac:grpSpMkLst>
            <pc:docMk/>
            <pc:sldMk cId="518497710" sldId="5001"/>
            <ac:grpSpMk id="25" creationId="{A74AB0C1-5E20-E00F-93B0-93DBC75BAD4F}"/>
          </ac:grpSpMkLst>
        </pc:grpChg>
        <pc:grpChg chg="mod">
          <ac:chgData name="Jacob, Karen (SPAC/PSPC) (elle-la / she-her)" userId="66e9cce0-e37b-4645-a907-f7690bd68dfb" providerId="ADAL" clId="{871AC57A-6E3B-4D85-BA02-8D6F5065EA89}" dt="2024-06-05T17:37:10.834" v="89"/>
          <ac:grpSpMkLst>
            <pc:docMk/>
            <pc:sldMk cId="518497710" sldId="5001"/>
            <ac:grpSpMk id="33" creationId="{0C7D2F65-26C1-B36D-5FD5-B0F28DEAA4DC}"/>
          </ac:grpSpMkLst>
        </pc:grpChg>
        <pc:grpChg chg="mod">
          <ac:chgData name="Jacob, Karen (SPAC/PSPC) (elle-la / she-her)" userId="66e9cce0-e37b-4645-a907-f7690bd68dfb" providerId="ADAL" clId="{871AC57A-6E3B-4D85-BA02-8D6F5065EA89}" dt="2024-06-05T17:37:10.834" v="89"/>
          <ac:grpSpMkLst>
            <pc:docMk/>
            <pc:sldMk cId="518497710" sldId="5001"/>
            <ac:grpSpMk id="35" creationId="{360DAC56-FCA8-C469-4163-9913B8D938A8}"/>
          </ac:grpSpMkLst>
        </pc:grpChg>
        <pc:picChg chg="mod">
          <ac:chgData name="Jacob, Karen (SPAC/PSPC) (elle-la / she-her)" userId="66e9cce0-e37b-4645-a907-f7690bd68dfb" providerId="ADAL" clId="{871AC57A-6E3B-4D85-BA02-8D6F5065EA89}" dt="2024-06-05T17:37:10.834" v="89"/>
          <ac:picMkLst>
            <pc:docMk/>
            <pc:sldMk cId="518497710" sldId="5001"/>
            <ac:picMk id="29" creationId="{B776609E-6A82-D11B-DA04-4EC1F2FA543C}"/>
          </ac:picMkLst>
        </pc:picChg>
        <pc:picChg chg="mod">
          <ac:chgData name="Jacob, Karen (SPAC/PSPC) (elle-la / she-her)" userId="66e9cce0-e37b-4645-a907-f7690bd68dfb" providerId="ADAL" clId="{871AC57A-6E3B-4D85-BA02-8D6F5065EA89}" dt="2024-06-05T17:37:10.834" v="89"/>
          <ac:picMkLst>
            <pc:docMk/>
            <pc:sldMk cId="518497710" sldId="5001"/>
            <ac:picMk id="30" creationId="{C195F44A-B343-F691-5430-7F040600CBBD}"/>
          </ac:picMkLst>
        </pc:picChg>
        <pc:picChg chg="mod">
          <ac:chgData name="Jacob, Karen (SPAC/PSPC) (elle-la / she-her)" userId="66e9cce0-e37b-4645-a907-f7690bd68dfb" providerId="ADAL" clId="{871AC57A-6E3B-4D85-BA02-8D6F5065EA89}" dt="2024-06-05T17:37:10.834" v="89"/>
          <ac:picMkLst>
            <pc:docMk/>
            <pc:sldMk cId="518497710" sldId="5001"/>
            <ac:picMk id="31" creationId="{B815B1E4-614A-DBDC-3889-587C7C7C1383}"/>
          </ac:picMkLst>
        </pc:picChg>
        <pc:cxnChg chg="mod">
          <ac:chgData name="Jacob, Karen (SPAC/PSPC) (elle-la / she-her)" userId="66e9cce0-e37b-4645-a907-f7690bd68dfb" providerId="ADAL" clId="{871AC57A-6E3B-4D85-BA02-8D6F5065EA89}" dt="2024-06-05T17:37:10.834" v="89"/>
          <ac:cxnSpMkLst>
            <pc:docMk/>
            <pc:sldMk cId="518497710" sldId="5001"/>
            <ac:cxnSpMk id="14" creationId="{69105A0F-730E-96A7-A4F5-6FA08C478B07}"/>
          </ac:cxnSpMkLst>
        </pc:cxnChg>
        <pc:cxnChg chg="mod">
          <ac:chgData name="Jacob, Karen (SPAC/PSPC) (elle-la / she-her)" userId="66e9cce0-e37b-4645-a907-f7690bd68dfb" providerId="ADAL" clId="{871AC57A-6E3B-4D85-BA02-8D6F5065EA89}" dt="2024-06-05T17:37:10.834" v="89"/>
          <ac:cxnSpMkLst>
            <pc:docMk/>
            <pc:sldMk cId="518497710" sldId="5001"/>
            <ac:cxnSpMk id="15" creationId="{5A2D7C2E-BC66-EFF3-F415-E50089134E03}"/>
          </ac:cxnSpMkLst>
        </pc:cxnChg>
        <pc:cxnChg chg="mod">
          <ac:chgData name="Jacob, Karen (SPAC/PSPC) (elle-la / she-her)" userId="66e9cce0-e37b-4645-a907-f7690bd68dfb" providerId="ADAL" clId="{871AC57A-6E3B-4D85-BA02-8D6F5065EA89}" dt="2024-06-05T17:37:10.834" v="89"/>
          <ac:cxnSpMkLst>
            <pc:docMk/>
            <pc:sldMk cId="518497710" sldId="5001"/>
            <ac:cxnSpMk id="16" creationId="{C95E4317-5CEB-FFF5-B35B-84277AA12261}"/>
          </ac:cxnSpMkLst>
        </pc:cxnChg>
        <pc:cxnChg chg="mod">
          <ac:chgData name="Jacob, Karen (SPAC/PSPC) (elle-la / she-her)" userId="66e9cce0-e37b-4645-a907-f7690bd68dfb" providerId="ADAL" clId="{871AC57A-6E3B-4D85-BA02-8D6F5065EA89}" dt="2024-06-05T17:37:10.834" v="89"/>
          <ac:cxnSpMkLst>
            <pc:docMk/>
            <pc:sldMk cId="518497710" sldId="5001"/>
            <ac:cxnSpMk id="17" creationId="{9A8DD48F-C908-C182-375D-FF23DC3654EC}"/>
          </ac:cxnSpMkLst>
        </pc:cxnChg>
        <pc:cxnChg chg="mod">
          <ac:chgData name="Jacob, Karen (SPAC/PSPC) (elle-la / she-her)" userId="66e9cce0-e37b-4645-a907-f7690bd68dfb" providerId="ADAL" clId="{871AC57A-6E3B-4D85-BA02-8D6F5065EA89}" dt="2024-06-05T17:37:10.834" v="89"/>
          <ac:cxnSpMkLst>
            <pc:docMk/>
            <pc:sldMk cId="518497710" sldId="5001"/>
            <ac:cxnSpMk id="18" creationId="{A99A346D-AA7D-FB2C-AADE-B156EEBF8EFF}"/>
          </ac:cxnSpMkLst>
        </pc:cxnChg>
        <pc:cxnChg chg="mod">
          <ac:chgData name="Jacob, Karen (SPAC/PSPC) (elle-la / she-her)" userId="66e9cce0-e37b-4645-a907-f7690bd68dfb" providerId="ADAL" clId="{871AC57A-6E3B-4D85-BA02-8D6F5065EA89}" dt="2024-06-05T17:37:10.834" v="89"/>
          <ac:cxnSpMkLst>
            <pc:docMk/>
            <pc:sldMk cId="518497710" sldId="5001"/>
            <ac:cxnSpMk id="19" creationId="{531D50E9-30AC-3622-9610-18889769AACF}"/>
          </ac:cxnSpMkLst>
        </pc:cxnChg>
        <pc:cxnChg chg="mod">
          <ac:chgData name="Jacob, Karen (SPAC/PSPC) (elle-la / she-her)" userId="66e9cce0-e37b-4645-a907-f7690bd68dfb" providerId="ADAL" clId="{871AC57A-6E3B-4D85-BA02-8D6F5065EA89}" dt="2024-06-05T17:37:10.834" v="89"/>
          <ac:cxnSpMkLst>
            <pc:docMk/>
            <pc:sldMk cId="518497710" sldId="5001"/>
            <ac:cxnSpMk id="21" creationId="{87D93834-D8E7-BCB1-BDDE-82FD7D374A39}"/>
          </ac:cxnSpMkLst>
        </pc:cxnChg>
        <pc:cxnChg chg="mod">
          <ac:chgData name="Jacob, Karen (SPAC/PSPC) (elle-la / she-her)" userId="66e9cce0-e37b-4645-a907-f7690bd68dfb" providerId="ADAL" clId="{871AC57A-6E3B-4D85-BA02-8D6F5065EA89}" dt="2024-06-05T17:37:10.834" v="89"/>
          <ac:cxnSpMkLst>
            <pc:docMk/>
            <pc:sldMk cId="518497710" sldId="5001"/>
            <ac:cxnSpMk id="36" creationId="{25D8C9A2-6F3E-E569-58B1-BD176D674A0E}"/>
          </ac:cxnSpMkLst>
        </pc:cxnChg>
        <pc:cxnChg chg="mod">
          <ac:chgData name="Jacob, Karen (SPAC/PSPC) (elle-la / she-her)" userId="66e9cce0-e37b-4645-a907-f7690bd68dfb" providerId="ADAL" clId="{871AC57A-6E3B-4D85-BA02-8D6F5065EA89}" dt="2024-06-05T17:37:10.834" v="89"/>
          <ac:cxnSpMkLst>
            <pc:docMk/>
            <pc:sldMk cId="518497710" sldId="5001"/>
            <ac:cxnSpMk id="44" creationId="{814FC7B9-6A10-B331-5F2F-C7DF82F83231}"/>
          </ac:cxnSpMkLst>
        </pc:cxnChg>
        <pc:cxnChg chg="mod">
          <ac:chgData name="Jacob, Karen (SPAC/PSPC) (elle-la / she-her)" userId="66e9cce0-e37b-4645-a907-f7690bd68dfb" providerId="ADAL" clId="{871AC57A-6E3B-4D85-BA02-8D6F5065EA89}" dt="2024-06-05T17:37:10.834" v="89"/>
          <ac:cxnSpMkLst>
            <pc:docMk/>
            <pc:sldMk cId="518497710" sldId="5001"/>
            <ac:cxnSpMk id="45" creationId="{D9CEAE31-86AF-4CE6-94E7-8299D8409C01}"/>
          </ac:cxnSpMkLst>
        </pc:cxnChg>
      </pc:sldChg>
      <pc:sldChg chg="ord">
        <pc:chgData name="Jacob, Karen (SPAC/PSPC) (elle-la / she-her)" userId="66e9cce0-e37b-4645-a907-f7690bd68dfb" providerId="ADAL" clId="{871AC57A-6E3B-4D85-BA02-8D6F5065EA89}" dt="2024-06-21T13:02:46.235" v="521"/>
        <pc:sldMkLst>
          <pc:docMk/>
          <pc:sldMk cId="1651678227" sldId="5001"/>
        </pc:sldMkLst>
      </pc:sldChg>
      <pc:sldChg chg="addSp delSp modSp new mod addCm">
        <pc:chgData name="Jacob, Karen (SPAC/PSPC) (elle-la / she-her)" userId="66e9cce0-e37b-4645-a907-f7690bd68dfb" providerId="ADAL" clId="{871AC57A-6E3B-4D85-BA02-8D6F5065EA89}" dt="2024-06-05T17:41:09.260" v="136"/>
        <pc:sldMkLst>
          <pc:docMk/>
          <pc:sldMk cId="677863844" sldId="5002"/>
        </pc:sldMkLst>
        <pc:spChg chg="del">
          <ac:chgData name="Jacob, Karen (SPAC/PSPC) (elle-la / she-her)" userId="66e9cce0-e37b-4645-a907-f7690bd68dfb" providerId="ADAL" clId="{871AC57A-6E3B-4D85-BA02-8D6F5065EA89}" dt="2024-06-05T17:38:08.376" v="104" actId="478"/>
          <ac:spMkLst>
            <pc:docMk/>
            <pc:sldMk cId="677863844" sldId="5002"/>
            <ac:spMk id="2" creationId="{16C09C89-2122-9E23-9128-8FC896A9BD72}"/>
          </ac:spMkLst>
        </pc:spChg>
        <pc:spChg chg="del">
          <ac:chgData name="Jacob, Karen (SPAC/PSPC) (elle-la / she-her)" userId="66e9cce0-e37b-4645-a907-f7690bd68dfb" providerId="ADAL" clId="{871AC57A-6E3B-4D85-BA02-8D6F5065EA89}" dt="2024-06-05T17:38:12.894" v="106" actId="478"/>
          <ac:spMkLst>
            <pc:docMk/>
            <pc:sldMk cId="677863844" sldId="5002"/>
            <ac:spMk id="3" creationId="{469B68B8-C8D6-6B1A-D48D-B7A7E5003311}"/>
          </ac:spMkLst>
        </pc:spChg>
        <pc:spChg chg="del">
          <ac:chgData name="Jacob, Karen (SPAC/PSPC) (elle-la / she-her)" userId="66e9cce0-e37b-4645-a907-f7690bd68dfb" providerId="ADAL" clId="{871AC57A-6E3B-4D85-BA02-8D6F5065EA89}" dt="2024-06-05T17:38:12.008" v="105" actId="478"/>
          <ac:spMkLst>
            <pc:docMk/>
            <pc:sldMk cId="677863844" sldId="5002"/>
            <ac:spMk id="4" creationId="{36FC58AF-1C5D-6F45-5EE9-28FDE8B64734}"/>
          </ac:spMkLst>
        </pc:spChg>
        <pc:spChg chg="mod">
          <ac:chgData name="Jacob, Karen (SPAC/PSPC) (elle-la / she-her)" userId="66e9cce0-e37b-4645-a907-f7690bd68dfb" providerId="ADAL" clId="{871AC57A-6E3B-4D85-BA02-8D6F5065EA89}" dt="2024-06-05T17:40:01.290" v="135" actId="20577"/>
          <ac:spMkLst>
            <pc:docMk/>
            <pc:sldMk cId="677863844" sldId="5002"/>
            <ac:spMk id="5" creationId="{5DE794F1-4D2B-1269-AFFC-8A6D53C7C572}"/>
          </ac:spMkLst>
        </pc:spChg>
        <pc:picChg chg="add mod">
          <ac:chgData name="Jacob, Karen (SPAC/PSPC) (elle-la / she-her)" userId="66e9cce0-e37b-4645-a907-f7690bd68dfb" providerId="ADAL" clId="{871AC57A-6E3B-4D85-BA02-8D6F5065EA89}" dt="2024-06-05T17:39:46.155" v="108" actId="1076"/>
          <ac:picMkLst>
            <pc:docMk/>
            <pc:sldMk cId="677863844" sldId="5002"/>
            <ac:picMk id="1026" creationId="{19666AA4-4EFD-83FC-490F-64FAEBCD85BC}"/>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1:09.260" v="136"/>
              <pc2:cmMkLst xmlns:pc2="http://schemas.microsoft.com/office/powerpoint/2019/9/main/command">
                <pc:docMk/>
                <pc:sldMk cId="677863844" sldId="5002"/>
                <pc2:cmMk id="{BA0189FD-BE2F-4246-ABEF-D6201C16CD1F}"/>
              </pc2:cmMkLst>
            </pc226:cmChg>
          </p:ext>
        </pc:extLst>
      </pc:sldChg>
      <pc:sldChg chg="addSp delSp modSp new del mod ord addCm">
        <pc:chgData name="Jacob, Karen (SPAC/PSPC) (elle-la / she-her)" userId="66e9cce0-e37b-4645-a907-f7690bd68dfb" providerId="ADAL" clId="{871AC57A-6E3B-4D85-BA02-8D6F5065EA89}" dt="2024-06-05T17:58:14.009" v="149" actId="47"/>
        <pc:sldMkLst>
          <pc:docMk/>
          <pc:sldMk cId="3046825340" sldId="5003"/>
        </pc:sldMkLst>
        <pc:spChg chg="del">
          <ac:chgData name="Jacob, Karen (SPAC/PSPC) (elle-la / she-her)" userId="66e9cce0-e37b-4645-a907-f7690bd68dfb" providerId="ADAL" clId="{871AC57A-6E3B-4D85-BA02-8D6F5065EA89}" dt="2024-06-05T17:42:06.189" v="138" actId="478"/>
          <ac:spMkLst>
            <pc:docMk/>
            <pc:sldMk cId="3046825340" sldId="5003"/>
            <ac:spMk id="2" creationId="{850D4D40-9852-4FAE-4EE1-A817E0B3A729}"/>
          </ac:spMkLst>
        </pc:spChg>
        <pc:spChg chg="add mod">
          <ac:chgData name="Jacob, Karen (SPAC/PSPC) (elle-la / she-her)" userId="66e9cce0-e37b-4645-a907-f7690bd68dfb" providerId="ADAL" clId="{871AC57A-6E3B-4D85-BA02-8D6F5065EA89}" dt="2024-06-05T17:42:06.862" v="139"/>
          <ac:spMkLst>
            <pc:docMk/>
            <pc:sldMk cId="3046825340" sldId="5003"/>
            <ac:spMk id="4" creationId="{94149456-D828-7631-D124-8216518C8B52}"/>
          </ac:spMkLst>
        </pc:spChg>
        <pc:spChg chg="add mod">
          <ac:chgData name="Jacob, Karen (SPAC/PSPC) (elle-la / she-her)" userId="66e9cce0-e37b-4645-a907-f7690bd68dfb" providerId="ADAL" clId="{871AC57A-6E3B-4D85-BA02-8D6F5065EA89}" dt="2024-06-05T17:42:06.862" v="139"/>
          <ac:spMkLst>
            <pc:docMk/>
            <pc:sldMk cId="3046825340" sldId="5003"/>
            <ac:spMk id="5" creationId="{3B5AB54E-48FF-960C-44EF-1B2ECEE0CD6B}"/>
          </ac:spMkLst>
        </pc:spChg>
        <pc:spChg chg="add mod">
          <ac:chgData name="Jacob, Karen (SPAC/PSPC) (elle-la / she-her)" userId="66e9cce0-e37b-4645-a907-f7690bd68dfb" providerId="ADAL" clId="{871AC57A-6E3B-4D85-BA02-8D6F5065EA89}" dt="2024-06-05T17:42:06.862" v="139"/>
          <ac:spMkLst>
            <pc:docMk/>
            <pc:sldMk cId="3046825340" sldId="5003"/>
            <ac:spMk id="6" creationId="{6E2F315B-B8F4-4487-9F8A-50A37E7589C1}"/>
          </ac:spMkLst>
        </pc:spChg>
        <pc:spChg chg="add mod">
          <ac:chgData name="Jacob, Karen (SPAC/PSPC) (elle-la / she-her)" userId="66e9cce0-e37b-4645-a907-f7690bd68dfb" providerId="ADAL" clId="{871AC57A-6E3B-4D85-BA02-8D6F5065EA89}" dt="2024-06-05T17:42:06.862" v="139"/>
          <ac:spMkLst>
            <pc:docMk/>
            <pc:sldMk cId="3046825340" sldId="5003"/>
            <ac:spMk id="7" creationId="{57BC91C3-1BAD-C13F-476E-749E95DF51BA}"/>
          </ac:spMkLst>
        </pc:spChg>
        <pc:spChg chg="mod">
          <ac:chgData name="Jacob, Karen (SPAC/PSPC) (elle-la / she-her)" userId="66e9cce0-e37b-4645-a907-f7690bd68dfb" providerId="ADAL" clId="{871AC57A-6E3B-4D85-BA02-8D6F5065EA89}" dt="2024-06-05T17:42:06.862" v="139"/>
          <ac:spMkLst>
            <pc:docMk/>
            <pc:sldMk cId="3046825340" sldId="5003"/>
            <ac:spMk id="10" creationId="{2DAF6016-13E7-552E-A9D7-A9E06AEE4AFB}"/>
          </ac:spMkLst>
        </pc:spChg>
        <pc:spChg chg="mod">
          <ac:chgData name="Jacob, Karen (SPAC/PSPC) (elle-la / she-her)" userId="66e9cce0-e37b-4645-a907-f7690bd68dfb" providerId="ADAL" clId="{871AC57A-6E3B-4D85-BA02-8D6F5065EA89}" dt="2024-06-05T17:42:06.862" v="139"/>
          <ac:spMkLst>
            <pc:docMk/>
            <pc:sldMk cId="3046825340" sldId="5003"/>
            <ac:spMk id="13" creationId="{DD1D6B6E-2BDE-22FE-E689-86279C5595A2}"/>
          </ac:spMkLst>
        </pc:spChg>
        <pc:spChg chg="add mod">
          <ac:chgData name="Jacob, Karen (SPAC/PSPC) (elle-la / she-her)" userId="66e9cce0-e37b-4645-a907-f7690bd68dfb" providerId="ADAL" clId="{871AC57A-6E3B-4D85-BA02-8D6F5065EA89}" dt="2024-06-05T17:42:06.862" v="139"/>
          <ac:spMkLst>
            <pc:docMk/>
            <pc:sldMk cId="3046825340" sldId="5003"/>
            <ac:spMk id="16" creationId="{88A67AC0-16A2-69DD-13FB-1AC24A1F4F68}"/>
          </ac:spMkLst>
        </pc:spChg>
        <pc:spChg chg="add mod">
          <ac:chgData name="Jacob, Karen (SPAC/PSPC) (elle-la / she-her)" userId="66e9cce0-e37b-4645-a907-f7690bd68dfb" providerId="ADAL" clId="{871AC57A-6E3B-4D85-BA02-8D6F5065EA89}" dt="2024-06-05T17:42:06.862" v="139"/>
          <ac:spMkLst>
            <pc:docMk/>
            <pc:sldMk cId="3046825340" sldId="5003"/>
            <ac:spMk id="17" creationId="{DD9938B7-537C-0486-7AB7-C0584C0660B2}"/>
          </ac:spMkLst>
        </pc:spChg>
        <pc:spChg chg="add mod">
          <ac:chgData name="Jacob, Karen (SPAC/PSPC) (elle-la / she-her)" userId="66e9cce0-e37b-4645-a907-f7690bd68dfb" providerId="ADAL" clId="{871AC57A-6E3B-4D85-BA02-8D6F5065EA89}" dt="2024-06-05T17:42:06.862" v="139"/>
          <ac:spMkLst>
            <pc:docMk/>
            <pc:sldMk cId="3046825340" sldId="5003"/>
            <ac:spMk id="18" creationId="{0D102F7D-0380-121B-D536-39842A725D07}"/>
          </ac:spMkLst>
        </pc:spChg>
        <pc:spChg chg="add mod">
          <ac:chgData name="Jacob, Karen (SPAC/PSPC) (elle-la / she-her)" userId="66e9cce0-e37b-4645-a907-f7690bd68dfb" providerId="ADAL" clId="{871AC57A-6E3B-4D85-BA02-8D6F5065EA89}" dt="2024-06-05T17:42:06.862" v="139"/>
          <ac:spMkLst>
            <pc:docMk/>
            <pc:sldMk cId="3046825340" sldId="5003"/>
            <ac:spMk id="19" creationId="{B9007843-083B-D939-99FB-850D52194D6F}"/>
          </ac:spMkLst>
        </pc:spChg>
        <pc:spChg chg="add mod">
          <ac:chgData name="Jacob, Karen (SPAC/PSPC) (elle-la / she-her)" userId="66e9cce0-e37b-4645-a907-f7690bd68dfb" providerId="ADAL" clId="{871AC57A-6E3B-4D85-BA02-8D6F5065EA89}" dt="2024-06-05T17:42:06.862" v="139"/>
          <ac:spMkLst>
            <pc:docMk/>
            <pc:sldMk cId="3046825340" sldId="5003"/>
            <ac:spMk id="21" creationId="{3FB4048D-02D4-0446-01EC-D092035F9B07}"/>
          </ac:spMkLst>
        </pc:spChg>
        <pc:spChg chg="add mod">
          <ac:chgData name="Jacob, Karen (SPAC/PSPC) (elle-la / she-her)" userId="66e9cce0-e37b-4645-a907-f7690bd68dfb" providerId="ADAL" clId="{871AC57A-6E3B-4D85-BA02-8D6F5065EA89}" dt="2024-06-05T17:42:06.862" v="139"/>
          <ac:spMkLst>
            <pc:docMk/>
            <pc:sldMk cId="3046825340" sldId="5003"/>
            <ac:spMk id="22" creationId="{8A974CF0-D716-C8B6-CDC3-D0DA155B85A6}"/>
          </ac:spMkLst>
        </pc:spChg>
        <pc:spChg chg="add mod">
          <ac:chgData name="Jacob, Karen (SPAC/PSPC) (elle-la / she-her)" userId="66e9cce0-e37b-4645-a907-f7690bd68dfb" providerId="ADAL" clId="{871AC57A-6E3B-4D85-BA02-8D6F5065EA89}" dt="2024-06-05T17:42:06.862" v="139"/>
          <ac:spMkLst>
            <pc:docMk/>
            <pc:sldMk cId="3046825340" sldId="5003"/>
            <ac:spMk id="23" creationId="{BF8B0AF6-C8BE-E1A1-29AC-9642706882EA}"/>
          </ac:spMkLst>
        </pc:spChg>
        <pc:spChg chg="add mod">
          <ac:chgData name="Jacob, Karen (SPAC/PSPC) (elle-la / she-her)" userId="66e9cce0-e37b-4645-a907-f7690bd68dfb" providerId="ADAL" clId="{871AC57A-6E3B-4D85-BA02-8D6F5065EA89}" dt="2024-06-05T17:42:06.862" v="139"/>
          <ac:spMkLst>
            <pc:docMk/>
            <pc:sldMk cId="3046825340" sldId="5003"/>
            <ac:spMk id="24" creationId="{B237313A-AA45-A5D6-D2A8-26AA1F9A4D46}"/>
          </ac:spMkLst>
        </pc:spChg>
        <pc:spChg chg="add mod">
          <ac:chgData name="Jacob, Karen (SPAC/PSPC) (elle-la / she-her)" userId="66e9cce0-e37b-4645-a907-f7690bd68dfb" providerId="ADAL" clId="{871AC57A-6E3B-4D85-BA02-8D6F5065EA89}" dt="2024-06-05T17:42:06.862" v="139"/>
          <ac:spMkLst>
            <pc:docMk/>
            <pc:sldMk cId="3046825340" sldId="5003"/>
            <ac:spMk id="25" creationId="{664EE333-71DB-3A4A-2C15-D1D6BBB21920}"/>
          </ac:spMkLst>
        </pc:spChg>
        <pc:spChg chg="add mod">
          <ac:chgData name="Jacob, Karen (SPAC/PSPC) (elle-la / she-her)" userId="66e9cce0-e37b-4645-a907-f7690bd68dfb" providerId="ADAL" clId="{871AC57A-6E3B-4D85-BA02-8D6F5065EA89}" dt="2024-06-05T17:42:06.862" v="139"/>
          <ac:spMkLst>
            <pc:docMk/>
            <pc:sldMk cId="3046825340" sldId="5003"/>
            <ac:spMk id="26" creationId="{FC23181F-1DD9-7A79-215C-BB0884951DE0}"/>
          </ac:spMkLst>
        </pc:spChg>
        <pc:spChg chg="add mod">
          <ac:chgData name="Jacob, Karen (SPAC/PSPC) (elle-la / she-her)" userId="66e9cce0-e37b-4645-a907-f7690bd68dfb" providerId="ADAL" clId="{871AC57A-6E3B-4D85-BA02-8D6F5065EA89}" dt="2024-06-05T17:42:06.862" v="139"/>
          <ac:spMkLst>
            <pc:docMk/>
            <pc:sldMk cId="3046825340" sldId="5003"/>
            <ac:spMk id="27" creationId="{70B07075-E06E-8408-9BFF-D2CD4925E48A}"/>
          </ac:spMkLst>
        </pc:spChg>
        <pc:spChg chg="add mod">
          <ac:chgData name="Jacob, Karen (SPAC/PSPC) (elle-la / she-her)" userId="66e9cce0-e37b-4645-a907-f7690bd68dfb" providerId="ADAL" clId="{871AC57A-6E3B-4D85-BA02-8D6F5065EA89}" dt="2024-06-05T17:42:06.862" v="139"/>
          <ac:spMkLst>
            <pc:docMk/>
            <pc:sldMk cId="3046825340" sldId="5003"/>
            <ac:spMk id="28" creationId="{FD1C7383-2DC2-22D8-D349-DCC232243505}"/>
          </ac:spMkLst>
        </pc:spChg>
        <pc:spChg chg="add mod">
          <ac:chgData name="Jacob, Karen (SPAC/PSPC) (elle-la / she-her)" userId="66e9cce0-e37b-4645-a907-f7690bd68dfb" providerId="ADAL" clId="{871AC57A-6E3B-4D85-BA02-8D6F5065EA89}" dt="2024-06-05T17:42:06.862" v="139"/>
          <ac:spMkLst>
            <pc:docMk/>
            <pc:sldMk cId="3046825340" sldId="5003"/>
            <ac:spMk id="29" creationId="{CDE0D926-AD72-CDFA-B262-F317B0F30F25}"/>
          </ac:spMkLst>
        </pc:spChg>
        <pc:spChg chg="add mod">
          <ac:chgData name="Jacob, Karen (SPAC/PSPC) (elle-la / she-her)" userId="66e9cce0-e37b-4645-a907-f7690bd68dfb" providerId="ADAL" clId="{871AC57A-6E3B-4D85-BA02-8D6F5065EA89}" dt="2024-06-05T17:42:06.862" v="139"/>
          <ac:spMkLst>
            <pc:docMk/>
            <pc:sldMk cId="3046825340" sldId="5003"/>
            <ac:spMk id="30" creationId="{5C31BF45-E749-C472-36EC-411EA9B3827E}"/>
          </ac:spMkLst>
        </pc:spChg>
        <pc:spChg chg="add mod">
          <ac:chgData name="Jacob, Karen (SPAC/PSPC) (elle-la / she-her)" userId="66e9cce0-e37b-4645-a907-f7690bd68dfb" providerId="ADAL" clId="{871AC57A-6E3B-4D85-BA02-8D6F5065EA89}" dt="2024-06-05T17:42:06.862" v="139"/>
          <ac:spMkLst>
            <pc:docMk/>
            <pc:sldMk cId="3046825340" sldId="5003"/>
            <ac:spMk id="31" creationId="{0DA5B392-E7DD-19C4-20DC-7E84812D3AF3}"/>
          </ac:spMkLst>
        </pc:spChg>
        <pc:spChg chg="add mod">
          <ac:chgData name="Jacob, Karen (SPAC/PSPC) (elle-la / she-her)" userId="66e9cce0-e37b-4645-a907-f7690bd68dfb" providerId="ADAL" clId="{871AC57A-6E3B-4D85-BA02-8D6F5065EA89}" dt="2024-06-05T17:42:06.862" v="139"/>
          <ac:spMkLst>
            <pc:docMk/>
            <pc:sldMk cId="3046825340" sldId="5003"/>
            <ac:spMk id="32" creationId="{42A6CAA5-16D3-0918-50D0-42EB107C127A}"/>
          </ac:spMkLst>
        </pc:spChg>
        <pc:spChg chg="add mod">
          <ac:chgData name="Jacob, Karen (SPAC/PSPC) (elle-la / she-her)" userId="66e9cce0-e37b-4645-a907-f7690bd68dfb" providerId="ADAL" clId="{871AC57A-6E3B-4D85-BA02-8D6F5065EA89}" dt="2024-06-05T17:42:06.862" v="139"/>
          <ac:spMkLst>
            <pc:docMk/>
            <pc:sldMk cId="3046825340" sldId="5003"/>
            <ac:spMk id="33" creationId="{BD0F2C9B-4899-9F86-8359-FF2DCDE3AF75}"/>
          </ac:spMkLst>
        </pc:spChg>
        <pc:grpChg chg="add mod">
          <ac:chgData name="Jacob, Karen (SPAC/PSPC) (elle-la / she-her)" userId="66e9cce0-e37b-4645-a907-f7690bd68dfb" providerId="ADAL" clId="{871AC57A-6E3B-4D85-BA02-8D6F5065EA89}" dt="2024-06-05T17:42:06.862" v="139"/>
          <ac:grpSpMkLst>
            <pc:docMk/>
            <pc:sldMk cId="3046825340" sldId="5003"/>
            <ac:grpSpMk id="8" creationId="{C6C0AAF2-0006-7FBA-3785-FF6D11551578}"/>
          </ac:grpSpMkLst>
        </pc:grpChg>
        <pc:grpChg chg="add mod">
          <ac:chgData name="Jacob, Karen (SPAC/PSPC) (elle-la / she-her)" userId="66e9cce0-e37b-4645-a907-f7690bd68dfb" providerId="ADAL" clId="{871AC57A-6E3B-4D85-BA02-8D6F5065EA89}" dt="2024-06-05T17:42:06.862" v="139"/>
          <ac:grpSpMkLst>
            <pc:docMk/>
            <pc:sldMk cId="3046825340" sldId="5003"/>
            <ac:grpSpMk id="11" creationId="{54628767-A831-C637-6956-5AA03BCDDA3F}"/>
          </ac:grpSpMkLst>
        </pc:grpChg>
        <pc:picChg chg="mod">
          <ac:chgData name="Jacob, Karen (SPAC/PSPC) (elle-la / she-her)" userId="66e9cce0-e37b-4645-a907-f7690bd68dfb" providerId="ADAL" clId="{871AC57A-6E3B-4D85-BA02-8D6F5065EA89}" dt="2024-06-05T17:42:06.862" v="139"/>
          <ac:picMkLst>
            <pc:docMk/>
            <pc:sldMk cId="3046825340" sldId="5003"/>
            <ac:picMk id="9" creationId="{F6C949EA-B296-0F73-D288-86B82C81DFCE}"/>
          </ac:picMkLst>
        </pc:picChg>
        <pc:picChg chg="mod">
          <ac:chgData name="Jacob, Karen (SPAC/PSPC) (elle-la / she-her)" userId="66e9cce0-e37b-4645-a907-f7690bd68dfb" providerId="ADAL" clId="{871AC57A-6E3B-4D85-BA02-8D6F5065EA89}" dt="2024-06-05T17:42:06.862" v="139"/>
          <ac:picMkLst>
            <pc:docMk/>
            <pc:sldMk cId="3046825340" sldId="5003"/>
            <ac:picMk id="12" creationId="{3D4CED1A-4C35-1DB7-B148-54B9A6525655}"/>
          </ac:picMkLst>
        </pc:picChg>
        <pc:picChg chg="add mod">
          <ac:chgData name="Jacob, Karen (SPAC/PSPC) (elle-la / she-her)" userId="66e9cce0-e37b-4645-a907-f7690bd68dfb" providerId="ADAL" clId="{871AC57A-6E3B-4D85-BA02-8D6F5065EA89}" dt="2024-06-05T17:42:06.862" v="139"/>
          <ac:picMkLst>
            <pc:docMk/>
            <pc:sldMk cId="3046825340" sldId="5003"/>
            <ac:picMk id="14" creationId="{0E228B9F-D223-2B98-52A9-84F2251AA71F}"/>
          </ac:picMkLst>
        </pc:picChg>
        <pc:picChg chg="add mod">
          <ac:chgData name="Jacob, Karen (SPAC/PSPC) (elle-la / she-her)" userId="66e9cce0-e37b-4645-a907-f7690bd68dfb" providerId="ADAL" clId="{871AC57A-6E3B-4D85-BA02-8D6F5065EA89}" dt="2024-06-05T17:42:06.862" v="139"/>
          <ac:picMkLst>
            <pc:docMk/>
            <pc:sldMk cId="3046825340" sldId="5003"/>
            <ac:picMk id="15" creationId="{A820C387-57F8-5712-4A7D-577683335A55}"/>
          </ac:picMkLst>
        </pc:picChg>
        <pc:picChg chg="add mod">
          <ac:chgData name="Jacob, Karen (SPAC/PSPC) (elle-la / she-her)" userId="66e9cce0-e37b-4645-a907-f7690bd68dfb" providerId="ADAL" clId="{871AC57A-6E3B-4D85-BA02-8D6F5065EA89}" dt="2024-06-05T17:42:06.862" v="139"/>
          <ac:picMkLst>
            <pc:docMk/>
            <pc:sldMk cId="3046825340" sldId="5003"/>
            <ac:picMk id="20" creationId="{0DCE02AC-F94C-B41E-8236-0467A9A12042}"/>
          </ac:picMkLst>
        </pc:picChg>
        <pc:picChg chg="add mod">
          <ac:chgData name="Jacob, Karen (SPAC/PSPC) (elle-la / she-her)" userId="66e9cce0-e37b-4645-a907-f7690bd68dfb" providerId="ADAL" clId="{871AC57A-6E3B-4D85-BA02-8D6F5065EA89}" dt="2024-06-05T17:42:06.862" v="139"/>
          <ac:picMkLst>
            <pc:docMk/>
            <pc:sldMk cId="3046825340" sldId="5003"/>
            <ac:picMk id="34" creationId="{BC900C86-A46F-AB46-2B31-ABCBC4868D1D}"/>
          </ac:picMkLst>
        </pc:pic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43:06.836" v="140"/>
              <pc2:cmMkLst xmlns:pc2="http://schemas.microsoft.com/office/powerpoint/2019/9/main/command">
                <pc:docMk/>
                <pc:sldMk cId="3046825340" sldId="5003"/>
                <pc2:cmMk id="{85916A68-495D-4B00-9FF2-03DC716D5D89}"/>
              </pc2:cmMkLst>
            </pc226:cmChg>
          </p:ext>
        </pc:extLst>
      </pc:sldChg>
      <pc:sldChg chg="addSp delSp modSp new del mod addCm">
        <pc:chgData name="Jacob, Karen (SPAC/PSPC) (elle-la / she-her)" userId="66e9cce0-e37b-4645-a907-f7690bd68dfb" providerId="ADAL" clId="{871AC57A-6E3B-4D85-BA02-8D6F5065EA89}" dt="2024-06-21T12:39:14.671" v="158" actId="47"/>
        <pc:sldMkLst>
          <pc:docMk/>
          <pc:sldMk cId="1903397118" sldId="5004"/>
        </pc:sldMkLst>
        <pc:spChg chg="del mod">
          <ac:chgData name="Jacob, Karen (SPAC/PSPC) (elle-la / she-her)" userId="66e9cce0-e37b-4645-a907-f7690bd68dfb" providerId="ADAL" clId="{871AC57A-6E3B-4D85-BA02-8D6F5065EA89}" dt="2024-06-05T17:57:40.605" v="148" actId="478"/>
          <ac:spMkLst>
            <pc:docMk/>
            <pc:sldMk cId="1903397118" sldId="5004"/>
            <ac:spMk id="2" creationId="{6DE7A4F7-121E-7AE4-3969-439BB4E5A416}"/>
          </ac:spMkLst>
        </pc:spChg>
        <pc:spChg chg="mod">
          <ac:chgData name="Jacob, Karen (SPAC/PSPC) (elle-la / she-her)" userId="66e9cce0-e37b-4645-a907-f7690bd68dfb" providerId="ADAL" clId="{871AC57A-6E3B-4D85-BA02-8D6F5065EA89}" dt="2024-06-05T17:57:36.566" v="146"/>
          <ac:spMkLst>
            <pc:docMk/>
            <pc:sldMk cId="1903397118" sldId="5004"/>
            <ac:spMk id="8" creationId="{95AA72BE-F899-9787-6D51-A27FCC03AE79}"/>
          </ac:spMkLst>
        </pc:spChg>
        <pc:spChg chg="add mod">
          <ac:chgData name="Jacob, Karen (SPAC/PSPC) (elle-la / she-her)" userId="66e9cce0-e37b-4645-a907-f7690bd68dfb" providerId="ADAL" clId="{871AC57A-6E3B-4D85-BA02-8D6F5065EA89}" dt="2024-06-05T17:57:36.566" v="146"/>
          <ac:spMkLst>
            <pc:docMk/>
            <pc:sldMk cId="1903397118" sldId="5004"/>
            <ac:spMk id="11" creationId="{7B88AABC-8CC7-E071-5FFA-42E31EE7BCE7}"/>
          </ac:spMkLst>
        </pc:spChg>
        <pc:spChg chg="mod">
          <ac:chgData name="Jacob, Karen (SPAC/PSPC) (elle-la / she-her)" userId="66e9cce0-e37b-4645-a907-f7690bd68dfb" providerId="ADAL" clId="{871AC57A-6E3B-4D85-BA02-8D6F5065EA89}" dt="2024-06-05T17:57:36.566" v="146"/>
          <ac:spMkLst>
            <pc:docMk/>
            <pc:sldMk cId="1903397118" sldId="5004"/>
            <ac:spMk id="13" creationId="{CC8561CD-1818-40EF-C87B-BCBC16D002C2}"/>
          </ac:spMkLst>
        </pc:spChg>
        <pc:spChg chg="mod">
          <ac:chgData name="Jacob, Karen (SPAC/PSPC) (elle-la / she-her)" userId="66e9cce0-e37b-4645-a907-f7690bd68dfb" providerId="ADAL" clId="{871AC57A-6E3B-4D85-BA02-8D6F5065EA89}" dt="2024-06-05T17:57:36.566" v="146"/>
          <ac:spMkLst>
            <pc:docMk/>
            <pc:sldMk cId="1903397118" sldId="5004"/>
            <ac:spMk id="20" creationId="{F91AC382-4A88-956F-BBFC-505104EEBE0C}"/>
          </ac:spMkLst>
        </pc:spChg>
        <pc:spChg chg="mod">
          <ac:chgData name="Jacob, Karen (SPAC/PSPC) (elle-la / she-her)" userId="66e9cce0-e37b-4645-a907-f7690bd68dfb" providerId="ADAL" clId="{871AC57A-6E3B-4D85-BA02-8D6F5065EA89}" dt="2024-06-05T17:57:36.566" v="146"/>
          <ac:spMkLst>
            <pc:docMk/>
            <pc:sldMk cId="1903397118" sldId="5004"/>
            <ac:spMk id="21" creationId="{7DAD5D9A-859E-E0B0-C3A9-C24291ADDC4D}"/>
          </ac:spMkLst>
        </pc:spChg>
        <pc:spChg chg="mod">
          <ac:chgData name="Jacob, Karen (SPAC/PSPC) (elle-la / she-her)" userId="66e9cce0-e37b-4645-a907-f7690bd68dfb" providerId="ADAL" clId="{871AC57A-6E3B-4D85-BA02-8D6F5065EA89}" dt="2024-06-05T17:57:36.566" v="146"/>
          <ac:spMkLst>
            <pc:docMk/>
            <pc:sldMk cId="1903397118" sldId="5004"/>
            <ac:spMk id="22" creationId="{59D296BE-5F52-32BF-9CA1-13043C7B10E8}"/>
          </ac:spMkLst>
        </pc:spChg>
        <pc:spChg chg="mod">
          <ac:chgData name="Jacob, Karen (SPAC/PSPC) (elle-la / she-her)" userId="66e9cce0-e37b-4645-a907-f7690bd68dfb" providerId="ADAL" clId="{871AC57A-6E3B-4D85-BA02-8D6F5065EA89}" dt="2024-06-05T17:57:36.566" v="146"/>
          <ac:spMkLst>
            <pc:docMk/>
            <pc:sldMk cId="1903397118" sldId="5004"/>
            <ac:spMk id="23" creationId="{B0232C10-5F74-A94D-70C3-093093BE4F2B}"/>
          </ac:spMkLst>
        </pc:spChg>
        <pc:spChg chg="mod">
          <ac:chgData name="Jacob, Karen (SPAC/PSPC) (elle-la / she-her)" userId="66e9cce0-e37b-4645-a907-f7690bd68dfb" providerId="ADAL" clId="{871AC57A-6E3B-4D85-BA02-8D6F5065EA89}" dt="2024-06-05T17:57:36.566" v="146"/>
          <ac:spMkLst>
            <pc:docMk/>
            <pc:sldMk cId="1903397118" sldId="5004"/>
            <ac:spMk id="24" creationId="{2F645C0B-99A7-FAC8-923C-1A469ADF66F9}"/>
          </ac:spMkLst>
        </pc:spChg>
        <pc:spChg chg="mod">
          <ac:chgData name="Jacob, Karen (SPAC/PSPC) (elle-la / she-her)" userId="66e9cce0-e37b-4645-a907-f7690bd68dfb" providerId="ADAL" clId="{871AC57A-6E3B-4D85-BA02-8D6F5065EA89}" dt="2024-06-05T17:57:36.566" v="146"/>
          <ac:spMkLst>
            <pc:docMk/>
            <pc:sldMk cId="1903397118" sldId="5004"/>
            <ac:spMk id="26" creationId="{AEE63864-6D27-AD82-155C-71DB4943F85A}"/>
          </ac:spMkLst>
        </pc:spChg>
        <pc:spChg chg="mod">
          <ac:chgData name="Jacob, Karen (SPAC/PSPC) (elle-la / she-her)" userId="66e9cce0-e37b-4645-a907-f7690bd68dfb" providerId="ADAL" clId="{871AC57A-6E3B-4D85-BA02-8D6F5065EA89}" dt="2024-06-05T17:57:36.566" v="146"/>
          <ac:spMkLst>
            <pc:docMk/>
            <pc:sldMk cId="1903397118" sldId="5004"/>
            <ac:spMk id="28" creationId="{DD6A8209-89FB-F41C-38A2-E4E6CFBA12C7}"/>
          </ac:spMkLst>
        </pc:spChg>
        <pc:spChg chg="mod">
          <ac:chgData name="Jacob, Karen (SPAC/PSPC) (elle-la / she-her)" userId="66e9cce0-e37b-4645-a907-f7690bd68dfb" providerId="ADAL" clId="{871AC57A-6E3B-4D85-BA02-8D6F5065EA89}" dt="2024-06-05T17:57:36.566" v="146"/>
          <ac:spMkLst>
            <pc:docMk/>
            <pc:sldMk cId="1903397118" sldId="5004"/>
            <ac:spMk id="29" creationId="{17AAB599-B658-8789-275E-2BF0B7EE01F7}"/>
          </ac:spMkLst>
        </pc:spChg>
        <pc:spChg chg="mod">
          <ac:chgData name="Jacob, Karen (SPAC/PSPC) (elle-la / she-her)" userId="66e9cce0-e37b-4645-a907-f7690bd68dfb" providerId="ADAL" clId="{871AC57A-6E3B-4D85-BA02-8D6F5065EA89}" dt="2024-06-05T17:57:36.566" v="146"/>
          <ac:spMkLst>
            <pc:docMk/>
            <pc:sldMk cId="1903397118" sldId="5004"/>
            <ac:spMk id="30" creationId="{64C00AF0-846C-AC11-D45A-3320A1752541}"/>
          </ac:spMkLst>
        </pc:spChg>
        <pc:spChg chg="mod">
          <ac:chgData name="Jacob, Karen (SPAC/PSPC) (elle-la / she-her)" userId="66e9cce0-e37b-4645-a907-f7690bd68dfb" providerId="ADAL" clId="{871AC57A-6E3B-4D85-BA02-8D6F5065EA89}" dt="2024-06-05T17:57:36.566" v="146"/>
          <ac:spMkLst>
            <pc:docMk/>
            <pc:sldMk cId="1903397118" sldId="5004"/>
            <ac:spMk id="31" creationId="{40219A96-A6B3-18C4-70A1-7322AD51D498}"/>
          </ac:spMkLst>
        </pc:spChg>
        <pc:spChg chg="mod">
          <ac:chgData name="Jacob, Karen (SPAC/PSPC) (elle-la / she-her)" userId="66e9cce0-e37b-4645-a907-f7690bd68dfb" providerId="ADAL" clId="{871AC57A-6E3B-4D85-BA02-8D6F5065EA89}" dt="2024-06-05T17:57:36.566" v="146"/>
          <ac:spMkLst>
            <pc:docMk/>
            <pc:sldMk cId="1903397118" sldId="5004"/>
            <ac:spMk id="32" creationId="{3E52EB05-19B2-5491-8E65-4AC634DD5363}"/>
          </ac:spMkLst>
        </pc:spChg>
        <pc:spChg chg="mod">
          <ac:chgData name="Jacob, Karen (SPAC/PSPC) (elle-la / she-her)" userId="66e9cce0-e37b-4645-a907-f7690bd68dfb" providerId="ADAL" clId="{871AC57A-6E3B-4D85-BA02-8D6F5065EA89}" dt="2024-06-05T17:57:36.566" v="146"/>
          <ac:spMkLst>
            <pc:docMk/>
            <pc:sldMk cId="1903397118" sldId="5004"/>
            <ac:spMk id="33" creationId="{F39D078F-C966-F670-30E6-EA0B9D1E2E1C}"/>
          </ac:spMkLst>
        </pc:spChg>
        <pc:spChg chg="mod">
          <ac:chgData name="Jacob, Karen (SPAC/PSPC) (elle-la / she-her)" userId="66e9cce0-e37b-4645-a907-f7690bd68dfb" providerId="ADAL" clId="{871AC57A-6E3B-4D85-BA02-8D6F5065EA89}" dt="2024-06-05T17:57:36.566" v="146"/>
          <ac:spMkLst>
            <pc:docMk/>
            <pc:sldMk cId="1903397118" sldId="5004"/>
            <ac:spMk id="34" creationId="{DA7CA523-DDC4-D9FD-F484-6029F4A49CFC}"/>
          </ac:spMkLst>
        </pc:spChg>
        <pc:spChg chg="mod">
          <ac:chgData name="Jacob, Karen (SPAC/PSPC) (elle-la / she-her)" userId="66e9cce0-e37b-4645-a907-f7690bd68dfb" providerId="ADAL" clId="{871AC57A-6E3B-4D85-BA02-8D6F5065EA89}" dt="2024-06-05T17:57:36.566" v="146"/>
          <ac:spMkLst>
            <pc:docMk/>
            <pc:sldMk cId="1903397118" sldId="5004"/>
            <ac:spMk id="35" creationId="{AA4B2DFF-BDA8-B0F3-52AD-B991FCF8F0D5}"/>
          </ac:spMkLst>
        </pc:spChg>
        <pc:spChg chg="mod">
          <ac:chgData name="Jacob, Karen (SPAC/PSPC) (elle-la / she-her)" userId="66e9cce0-e37b-4645-a907-f7690bd68dfb" providerId="ADAL" clId="{871AC57A-6E3B-4D85-BA02-8D6F5065EA89}" dt="2024-06-05T17:57:36.566" v="146"/>
          <ac:spMkLst>
            <pc:docMk/>
            <pc:sldMk cId="1903397118" sldId="5004"/>
            <ac:spMk id="36" creationId="{2C845B85-89E7-34CB-B27E-8E794AF6E083}"/>
          </ac:spMkLst>
        </pc:spChg>
        <pc:spChg chg="mod">
          <ac:chgData name="Jacob, Karen (SPAC/PSPC) (elle-la / she-her)" userId="66e9cce0-e37b-4645-a907-f7690bd68dfb" providerId="ADAL" clId="{871AC57A-6E3B-4D85-BA02-8D6F5065EA89}" dt="2024-06-05T17:57:36.566" v="146"/>
          <ac:spMkLst>
            <pc:docMk/>
            <pc:sldMk cId="1903397118" sldId="5004"/>
            <ac:spMk id="37" creationId="{C9E97066-EA69-544C-9F37-AFFD6B0056B3}"/>
          </ac:spMkLst>
        </pc:spChg>
        <pc:spChg chg="mod">
          <ac:chgData name="Jacob, Karen (SPAC/PSPC) (elle-la / she-her)" userId="66e9cce0-e37b-4645-a907-f7690bd68dfb" providerId="ADAL" clId="{871AC57A-6E3B-4D85-BA02-8D6F5065EA89}" dt="2024-06-05T17:57:36.566" v="146"/>
          <ac:spMkLst>
            <pc:docMk/>
            <pc:sldMk cId="1903397118" sldId="5004"/>
            <ac:spMk id="38" creationId="{E126FB0F-799D-882C-3FD4-A3D6F0E19EA4}"/>
          </ac:spMkLst>
        </pc:spChg>
        <pc:spChg chg="mod">
          <ac:chgData name="Jacob, Karen (SPAC/PSPC) (elle-la / she-her)" userId="66e9cce0-e37b-4645-a907-f7690bd68dfb" providerId="ADAL" clId="{871AC57A-6E3B-4D85-BA02-8D6F5065EA89}" dt="2024-06-05T17:57:36.566" v="146"/>
          <ac:spMkLst>
            <pc:docMk/>
            <pc:sldMk cId="1903397118" sldId="5004"/>
            <ac:spMk id="39" creationId="{69A35E8B-22DC-B000-DDB0-E3E9993DD1F8}"/>
          </ac:spMkLst>
        </pc:spChg>
        <pc:spChg chg="mod">
          <ac:chgData name="Jacob, Karen (SPAC/PSPC) (elle-la / she-her)" userId="66e9cce0-e37b-4645-a907-f7690bd68dfb" providerId="ADAL" clId="{871AC57A-6E3B-4D85-BA02-8D6F5065EA89}" dt="2024-06-05T17:57:36.566" v="146"/>
          <ac:spMkLst>
            <pc:docMk/>
            <pc:sldMk cId="1903397118" sldId="5004"/>
            <ac:spMk id="40" creationId="{BEDFA48D-E6B0-DB08-EB17-54B0538F03FC}"/>
          </ac:spMkLst>
        </pc:spChg>
        <pc:spChg chg="mod">
          <ac:chgData name="Jacob, Karen (SPAC/PSPC) (elle-la / she-her)" userId="66e9cce0-e37b-4645-a907-f7690bd68dfb" providerId="ADAL" clId="{871AC57A-6E3B-4D85-BA02-8D6F5065EA89}" dt="2024-06-05T17:57:36.566" v="146"/>
          <ac:spMkLst>
            <pc:docMk/>
            <pc:sldMk cId="1903397118" sldId="5004"/>
            <ac:spMk id="41" creationId="{6EB1F4BF-11AF-61C1-83FE-337F25A50080}"/>
          </ac:spMkLst>
        </pc:spChg>
        <pc:spChg chg="mod">
          <ac:chgData name="Jacob, Karen (SPAC/PSPC) (elle-la / she-her)" userId="66e9cce0-e37b-4645-a907-f7690bd68dfb" providerId="ADAL" clId="{871AC57A-6E3B-4D85-BA02-8D6F5065EA89}" dt="2024-06-05T17:57:36.566" v="146"/>
          <ac:spMkLst>
            <pc:docMk/>
            <pc:sldMk cId="1903397118" sldId="5004"/>
            <ac:spMk id="42" creationId="{C92E9470-2421-B2CE-29BD-598D8B68F2DB}"/>
          </ac:spMkLst>
        </pc:spChg>
        <pc:spChg chg="mod">
          <ac:chgData name="Jacob, Karen (SPAC/PSPC) (elle-la / she-her)" userId="66e9cce0-e37b-4645-a907-f7690bd68dfb" providerId="ADAL" clId="{871AC57A-6E3B-4D85-BA02-8D6F5065EA89}" dt="2024-06-05T17:57:36.566" v="146"/>
          <ac:spMkLst>
            <pc:docMk/>
            <pc:sldMk cId="1903397118" sldId="5004"/>
            <ac:spMk id="43" creationId="{F81ECAE2-EECC-C663-FD27-F93281BCE5D2}"/>
          </ac:spMkLst>
        </pc:spChg>
        <pc:spChg chg="mod">
          <ac:chgData name="Jacob, Karen (SPAC/PSPC) (elle-la / she-her)" userId="66e9cce0-e37b-4645-a907-f7690bd68dfb" providerId="ADAL" clId="{871AC57A-6E3B-4D85-BA02-8D6F5065EA89}" dt="2024-06-05T17:57:36.566" v="146"/>
          <ac:spMkLst>
            <pc:docMk/>
            <pc:sldMk cId="1903397118" sldId="5004"/>
            <ac:spMk id="44" creationId="{D3986DE7-7C73-AEC2-1223-409D3CED3024}"/>
          </ac:spMkLst>
        </pc:spChg>
        <pc:spChg chg="mod">
          <ac:chgData name="Jacob, Karen (SPAC/PSPC) (elle-la / she-her)" userId="66e9cce0-e37b-4645-a907-f7690bd68dfb" providerId="ADAL" clId="{871AC57A-6E3B-4D85-BA02-8D6F5065EA89}" dt="2024-06-05T17:57:36.566" v="146"/>
          <ac:spMkLst>
            <pc:docMk/>
            <pc:sldMk cId="1903397118" sldId="5004"/>
            <ac:spMk id="45" creationId="{9A76645B-880A-B095-B767-5A43E1A2500C}"/>
          </ac:spMkLst>
        </pc:spChg>
        <pc:spChg chg="mod">
          <ac:chgData name="Jacob, Karen (SPAC/PSPC) (elle-la / she-her)" userId="66e9cce0-e37b-4645-a907-f7690bd68dfb" providerId="ADAL" clId="{871AC57A-6E3B-4D85-BA02-8D6F5065EA89}" dt="2024-06-05T17:57:36.566" v="146"/>
          <ac:spMkLst>
            <pc:docMk/>
            <pc:sldMk cId="1903397118" sldId="5004"/>
            <ac:spMk id="46" creationId="{773824BB-1473-34D6-DC3F-18A9C20847D3}"/>
          </ac:spMkLst>
        </pc:spChg>
        <pc:spChg chg="mod">
          <ac:chgData name="Jacob, Karen (SPAC/PSPC) (elle-la / she-her)" userId="66e9cce0-e37b-4645-a907-f7690bd68dfb" providerId="ADAL" clId="{871AC57A-6E3B-4D85-BA02-8D6F5065EA89}" dt="2024-06-05T17:57:36.566" v="146"/>
          <ac:spMkLst>
            <pc:docMk/>
            <pc:sldMk cId="1903397118" sldId="5004"/>
            <ac:spMk id="47" creationId="{B4798825-4047-77ED-B1E0-95E9B493D0AD}"/>
          </ac:spMkLst>
        </pc:spChg>
        <pc:spChg chg="mod">
          <ac:chgData name="Jacob, Karen (SPAC/PSPC) (elle-la / she-her)" userId="66e9cce0-e37b-4645-a907-f7690bd68dfb" providerId="ADAL" clId="{871AC57A-6E3B-4D85-BA02-8D6F5065EA89}" dt="2024-06-05T17:57:36.566" v="146"/>
          <ac:spMkLst>
            <pc:docMk/>
            <pc:sldMk cId="1903397118" sldId="5004"/>
            <ac:spMk id="48" creationId="{5C04D0C4-35E1-C131-E4CA-BD7C2EDB746E}"/>
          </ac:spMkLst>
        </pc:spChg>
        <pc:spChg chg="mod">
          <ac:chgData name="Jacob, Karen (SPAC/PSPC) (elle-la / she-her)" userId="66e9cce0-e37b-4645-a907-f7690bd68dfb" providerId="ADAL" clId="{871AC57A-6E3B-4D85-BA02-8D6F5065EA89}" dt="2024-06-05T17:57:36.566" v="146"/>
          <ac:spMkLst>
            <pc:docMk/>
            <pc:sldMk cId="1903397118" sldId="5004"/>
            <ac:spMk id="49" creationId="{87173ADD-1D45-41E7-7BAD-192410157947}"/>
          </ac:spMkLst>
        </pc:spChg>
        <pc:spChg chg="mod">
          <ac:chgData name="Jacob, Karen (SPAC/PSPC) (elle-la / she-her)" userId="66e9cce0-e37b-4645-a907-f7690bd68dfb" providerId="ADAL" clId="{871AC57A-6E3B-4D85-BA02-8D6F5065EA89}" dt="2024-06-05T17:57:36.566" v="146"/>
          <ac:spMkLst>
            <pc:docMk/>
            <pc:sldMk cId="1903397118" sldId="5004"/>
            <ac:spMk id="50" creationId="{0C32DA1C-1ECE-8C8B-673A-02CA6F1BC08B}"/>
          </ac:spMkLst>
        </pc:spChg>
        <pc:spChg chg="mod">
          <ac:chgData name="Jacob, Karen (SPAC/PSPC) (elle-la / she-her)" userId="66e9cce0-e37b-4645-a907-f7690bd68dfb" providerId="ADAL" clId="{871AC57A-6E3B-4D85-BA02-8D6F5065EA89}" dt="2024-06-05T17:57:36.566" v="146"/>
          <ac:spMkLst>
            <pc:docMk/>
            <pc:sldMk cId="1903397118" sldId="5004"/>
            <ac:spMk id="51" creationId="{0BEAA3BF-17A1-188C-17DB-2694F8DD66EC}"/>
          </ac:spMkLst>
        </pc:spChg>
        <pc:spChg chg="mod">
          <ac:chgData name="Jacob, Karen (SPAC/PSPC) (elle-la / she-her)" userId="66e9cce0-e37b-4645-a907-f7690bd68dfb" providerId="ADAL" clId="{871AC57A-6E3B-4D85-BA02-8D6F5065EA89}" dt="2024-06-05T17:57:36.566" v="146"/>
          <ac:spMkLst>
            <pc:docMk/>
            <pc:sldMk cId="1903397118" sldId="5004"/>
            <ac:spMk id="52" creationId="{9C6E289A-7E15-DD7A-147A-F2CDFD827845}"/>
          </ac:spMkLst>
        </pc:spChg>
        <pc:spChg chg="mod">
          <ac:chgData name="Jacob, Karen (SPAC/PSPC) (elle-la / she-her)" userId="66e9cce0-e37b-4645-a907-f7690bd68dfb" providerId="ADAL" clId="{871AC57A-6E3B-4D85-BA02-8D6F5065EA89}" dt="2024-06-05T17:57:36.566" v="146"/>
          <ac:spMkLst>
            <pc:docMk/>
            <pc:sldMk cId="1903397118" sldId="5004"/>
            <ac:spMk id="53" creationId="{C787B92F-533A-A1D9-8355-049E106F8698}"/>
          </ac:spMkLst>
        </pc:spChg>
        <pc:spChg chg="mod">
          <ac:chgData name="Jacob, Karen (SPAC/PSPC) (elle-la / she-her)" userId="66e9cce0-e37b-4645-a907-f7690bd68dfb" providerId="ADAL" clId="{871AC57A-6E3B-4D85-BA02-8D6F5065EA89}" dt="2024-06-05T17:57:36.566" v="146"/>
          <ac:spMkLst>
            <pc:docMk/>
            <pc:sldMk cId="1903397118" sldId="5004"/>
            <ac:spMk id="54" creationId="{EE34EBE8-B087-4934-061E-EF54E72FBCE3}"/>
          </ac:spMkLst>
        </pc:spChg>
        <pc:spChg chg="mod">
          <ac:chgData name="Jacob, Karen (SPAC/PSPC) (elle-la / she-her)" userId="66e9cce0-e37b-4645-a907-f7690bd68dfb" providerId="ADAL" clId="{871AC57A-6E3B-4D85-BA02-8D6F5065EA89}" dt="2024-06-05T17:57:36.566" v="146"/>
          <ac:spMkLst>
            <pc:docMk/>
            <pc:sldMk cId="1903397118" sldId="5004"/>
            <ac:spMk id="55" creationId="{DBFAC949-0D4D-320A-F0C7-903A3AA22910}"/>
          </ac:spMkLst>
        </pc:spChg>
        <pc:spChg chg="mod">
          <ac:chgData name="Jacob, Karen (SPAC/PSPC) (elle-la / she-her)" userId="66e9cce0-e37b-4645-a907-f7690bd68dfb" providerId="ADAL" clId="{871AC57A-6E3B-4D85-BA02-8D6F5065EA89}" dt="2024-06-05T17:57:36.566" v="146"/>
          <ac:spMkLst>
            <pc:docMk/>
            <pc:sldMk cId="1903397118" sldId="5004"/>
            <ac:spMk id="56" creationId="{E90CB0F6-1B8F-CF4B-4665-0983680C0C06}"/>
          </ac:spMkLst>
        </pc:spChg>
        <pc:spChg chg="mod">
          <ac:chgData name="Jacob, Karen (SPAC/PSPC) (elle-la / she-her)" userId="66e9cce0-e37b-4645-a907-f7690bd68dfb" providerId="ADAL" clId="{871AC57A-6E3B-4D85-BA02-8D6F5065EA89}" dt="2024-06-05T17:57:36.566" v="146"/>
          <ac:spMkLst>
            <pc:docMk/>
            <pc:sldMk cId="1903397118" sldId="5004"/>
            <ac:spMk id="57" creationId="{F59121C5-2066-BE9E-1D72-1659ED48D970}"/>
          </ac:spMkLst>
        </pc:spChg>
        <pc:spChg chg="mod">
          <ac:chgData name="Jacob, Karen (SPAC/PSPC) (elle-la / she-her)" userId="66e9cce0-e37b-4645-a907-f7690bd68dfb" providerId="ADAL" clId="{871AC57A-6E3B-4D85-BA02-8D6F5065EA89}" dt="2024-06-05T17:57:36.566" v="146"/>
          <ac:spMkLst>
            <pc:docMk/>
            <pc:sldMk cId="1903397118" sldId="5004"/>
            <ac:spMk id="58" creationId="{E49C98A5-DEA0-4DA5-3CF0-8E95C467B21E}"/>
          </ac:spMkLst>
        </pc:spChg>
        <pc:spChg chg="mod">
          <ac:chgData name="Jacob, Karen (SPAC/PSPC) (elle-la / she-her)" userId="66e9cce0-e37b-4645-a907-f7690bd68dfb" providerId="ADAL" clId="{871AC57A-6E3B-4D85-BA02-8D6F5065EA89}" dt="2024-06-05T17:57:36.566" v="146"/>
          <ac:spMkLst>
            <pc:docMk/>
            <pc:sldMk cId="1903397118" sldId="5004"/>
            <ac:spMk id="59" creationId="{87157A23-F9D0-7055-D28A-5E228DE96E8F}"/>
          </ac:spMkLst>
        </pc:spChg>
        <pc:spChg chg="mod">
          <ac:chgData name="Jacob, Karen (SPAC/PSPC) (elle-la / she-her)" userId="66e9cce0-e37b-4645-a907-f7690bd68dfb" providerId="ADAL" clId="{871AC57A-6E3B-4D85-BA02-8D6F5065EA89}" dt="2024-06-05T17:57:36.566" v="146"/>
          <ac:spMkLst>
            <pc:docMk/>
            <pc:sldMk cId="1903397118" sldId="5004"/>
            <ac:spMk id="60" creationId="{60C03AA3-3C6D-0DBD-FF35-B5B7504452F5}"/>
          </ac:spMkLst>
        </pc:spChg>
        <pc:spChg chg="mod">
          <ac:chgData name="Jacob, Karen (SPAC/PSPC) (elle-la / she-her)" userId="66e9cce0-e37b-4645-a907-f7690bd68dfb" providerId="ADAL" clId="{871AC57A-6E3B-4D85-BA02-8D6F5065EA89}" dt="2024-06-05T17:57:36.566" v="146"/>
          <ac:spMkLst>
            <pc:docMk/>
            <pc:sldMk cId="1903397118" sldId="5004"/>
            <ac:spMk id="61" creationId="{5D2E7A06-EC53-3E0A-E766-D89737475C7E}"/>
          </ac:spMkLst>
        </pc:spChg>
        <pc:spChg chg="mod">
          <ac:chgData name="Jacob, Karen (SPAC/PSPC) (elle-la / she-her)" userId="66e9cce0-e37b-4645-a907-f7690bd68dfb" providerId="ADAL" clId="{871AC57A-6E3B-4D85-BA02-8D6F5065EA89}" dt="2024-06-05T17:57:36.566" v="146"/>
          <ac:spMkLst>
            <pc:docMk/>
            <pc:sldMk cId="1903397118" sldId="5004"/>
            <ac:spMk id="62" creationId="{0B2D47D7-9779-071A-2DAD-386B4D732542}"/>
          </ac:spMkLst>
        </pc:spChg>
        <pc:spChg chg="mod">
          <ac:chgData name="Jacob, Karen (SPAC/PSPC) (elle-la / she-her)" userId="66e9cce0-e37b-4645-a907-f7690bd68dfb" providerId="ADAL" clId="{871AC57A-6E3B-4D85-BA02-8D6F5065EA89}" dt="2024-06-05T17:57:36.566" v="146"/>
          <ac:spMkLst>
            <pc:docMk/>
            <pc:sldMk cId="1903397118" sldId="5004"/>
            <ac:spMk id="63" creationId="{A3394D01-212B-891D-B68D-9751E6C3F176}"/>
          </ac:spMkLst>
        </pc:spChg>
        <pc:spChg chg="mod">
          <ac:chgData name="Jacob, Karen (SPAC/PSPC) (elle-la / she-her)" userId="66e9cce0-e37b-4645-a907-f7690bd68dfb" providerId="ADAL" clId="{871AC57A-6E3B-4D85-BA02-8D6F5065EA89}" dt="2024-06-05T17:57:36.566" v="146"/>
          <ac:spMkLst>
            <pc:docMk/>
            <pc:sldMk cId="1903397118" sldId="5004"/>
            <ac:spMk id="64" creationId="{3671BD97-946A-AA8C-6B09-A74A6CD46A04}"/>
          </ac:spMkLst>
        </pc:spChg>
        <pc:spChg chg="mod">
          <ac:chgData name="Jacob, Karen (SPAC/PSPC) (elle-la / she-her)" userId="66e9cce0-e37b-4645-a907-f7690bd68dfb" providerId="ADAL" clId="{871AC57A-6E3B-4D85-BA02-8D6F5065EA89}" dt="2024-06-05T17:57:36.566" v="146"/>
          <ac:spMkLst>
            <pc:docMk/>
            <pc:sldMk cId="1903397118" sldId="5004"/>
            <ac:spMk id="65" creationId="{748ACC47-E95E-D30E-5D99-FE5F7A49F2BB}"/>
          </ac:spMkLst>
        </pc:spChg>
        <pc:spChg chg="mod">
          <ac:chgData name="Jacob, Karen (SPAC/PSPC) (elle-la / she-her)" userId="66e9cce0-e37b-4645-a907-f7690bd68dfb" providerId="ADAL" clId="{871AC57A-6E3B-4D85-BA02-8D6F5065EA89}" dt="2024-06-05T17:57:36.566" v="146"/>
          <ac:spMkLst>
            <pc:docMk/>
            <pc:sldMk cId="1903397118" sldId="5004"/>
            <ac:spMk id="66" creationId="{E2A6A79C-26B6-72D2-CB7C-D62EF6086C01}"/>
          </ac:spMkLst>
        </pc:spChg>
        <pc:spChg chg="mod">
          <ac:chgData name="Jacob, Karen (SPAC/PSPC) (elle-la / she-her)" userId="66e9cce0-e37b-4645-a907-f7690bd68dfb" providerId="ADAL" clId="{871AC57A-6E3B-4D85-BA02-8D6F5065EA89}" dt="2024-06-05T17:57:36.566" v="146"/>
          <ac:spMkLst>
            <pc:docMk/>
            <pc:sldMk cId="1903397118" sldId="5004"/>
            <ac:spMk id="67" creationId="{9FF0906C-2553-435C-B53B-365ADBFFE29A}"/>
          </ac:spMkLst>
        </pc:spChg>
        <pc:spChg chg="mod">
          <ac:chgData name="Jacob, Karen (SPAC/PSPC) (elle-la / she-her)" userId="66e9cce0-e37b-4645-a907-f7690bd68dfb" providerId="ADAL" clId="{871AC57A-6E3B-4D85-BA02-8D6F5065EA89}" dt="2024-06-05T17:57:36.566" v="146"/>
          <ac:spMkLst>
            <pc:docMk/>
            <pc:sldMk cId="1903397118" sldId="5004"/>
            <ac:spMk id="69" creationId="{575B1B8B-94EE-103D-598B-1551532DD666}"/>
          </ac:spMkLst>
        </pc:spChg>
        <pc:spChg chg="mod">
          <ac:chgData name="Jacob, Karen (SPAC/PSPC) (elle-la / she-her)" userId="66e9cce0-e37b-4645-a907-f7690bd68dfb" providerId="ADAL" clId="{871AC57A-6E3B-4D85-BA02-8D6F5065EA89}" dt="2024-06-05T17:57:36.566" v="146"/>
          <ac:spMkLst>
            <pc:docMk/>
            <pc:sldMk cId="1903397118" sldId="5004"/>
            <ac:spMk id="71" creationId="{ACF322E4-AFF5-6CE7-E558-15A5BCDCF297}"/>
          </ac:spMkLst>
        </pc:spChg>
        <pc:spChg chg="mod">
          <ac:chgData name="Jacob, Karen (SPAC/PSPC) (elle-la / she-her)" userId="66e9cce0-e37b-4645-a907-f7690bd68dfb" providerId="ADAL" clId="{871AC57A-6E3B-4D85-BA02-8D6F5065EA89}" dt="2024-06-05T17:57:36.566" v="146"/>
          <ac:spMkLst>
            <pc:docMk/>
            <pc:sldMk cId="1903397118" sldId="5004"/>
            <ac:spMk id="72" creationId="{72877D15-D0F1-3128-5FED-6B9435E8D065}"/>
          </ac:spMkLst>
        </pc:spChg>
        <pc:spChg chg="mod">
          <ac:chgData name="Jacob, Karen (SPAC/PSPC) (elle-la / she-her)" userId="66e9cce0-e37b-4645-a907-f7690bd68dfb" providerId="ADAL" clId="{871AC57A-6E3B-4D85-BA02-8D6F5065EA89}" dt="2024-06-05T17:57:36.566" v="146"/>
          <ac:spMkLst>
            <pc:docMk/>
            <pc:sldMk cId="1903397118" sldId="5004"/>
            <ac:spMk id="73" creationId="{7C042DBA-D648-31BC-07D1-69497904E7E2}"/>
          </ac:spMkLst>
        </pc:spChg>
        <pc:spChg chg="mod">
          <ac:chgData name="Jacob, Karen (SPAC/PSPC) (elle-la / she-her)" userId="66e9cce0-e37b-4645-a907-f7690bd68dfb" providerId="ADAL" clId="{871AC57A-6E3B-4D85-BA02-8D6F5065EA89}" dt="2024-06-05T17:57:36.566" v="146"/>
          <ac:spMkLst>
            <pc:docMk/>
            <pc:sldMk cId="1903397118" sldId="5004"/>
            <ac:spMk id="74" creationId="{9BBD79FA-290C-E47B-D383-136E6EFFFA0A}"/>
          </ac:spMkLst>
        </pc:spChg>
        <pc:spChg chg="mod">
          <ac:chgData name="Jacob, Karen (SPAC/PSPC) (elle-la / she-her)" userId="66e9cce0-e37b-4645-a907-f7690bd68dfb" providerId="ADAL" clId="{871AC57A-6E3B-4D85-BA02-8D6F5065EA89}" dt="2024-06-05T17:57:36.566" v="146"/>
          <ac:spMkLst>
            <pc:docMk/>
            <pc:sldMk cId="1903397118" sldId="5004"/>
            <ac:spMk id="75" creationId="{9C2D97AB-EE6C-5740-A32C-944EE56B0EE6}"/>
          </ac:spMkLst>
        </pc:spChg>
        <pc:spChg chg="mod">
          <ac:chgData name="Jacob, Karen (SPAC/PSPC) (elle-la / she-her)" userId="66e9cce0-e37b-4645-a907-f7690bd68dfb" providerId="ADAL" clId="{871AC57A-6E3B-4D85-BA02-8D6F5065EA89}" dt="2024-06-05T17:57:36.566" v="146"/>
          <ac:spMkLst>
            <pc:docMk/>
            <pc:sldMk cId="1903397118" sldId="5004"/>
            <ac:spMk id="76" creationId="{75CF64C2-E8BD-8544-CDA1-D0F3B921E75B}"/>
          </ac:spMkLst>
        </pc:spChg>
        <pc:spChg chg="mod">
          <ac:chgData name="Jacob, Karen (SPAC/PSPC) (elle-la / she-her)" userId="66e9cce0-e37b-4645-a907-f7690bd68dfb" providerId="ADAL" clId="{871AC57A-6E3B-4D85-BA02-8D6F5065EA89}" dt="2024-06-05T17:57:36.566" v="146"/>
          <ac:spMkLst>
            <pc:docMk/>
            <pc:sldMk cId="1903397118" sldId="5004"/>
            <ac:spMk id="77" creationId="{D50E7F9E-CCC1-ACCF-4734-3BD45782A6A3}"/>
          </ac:spMkLst>
        </pc:spChg>
        <pc:spChg chg="mod">
          <ac:chgData name="Jacob, Karen (SPAC/PSPC) (elle-la / she-her)" userId="66e9cce0-e37b-4645-a907-f7690bd68dfb" providerId="ADAL" clId="{871AC57A-6E3B-4D85-BA02-8D6F5065EA89}" dt="2024-06-05T17:57:36.566" v="146"/>
          <ac:spMkLst>
            <pc:docMk/>
            <pc:sldMk cId="1903397118" sldId="5004"/>
            <ac:spMk id="78" creationId="{DF0E6146-B788-F3EF-688D-BEBDC580AD7B}"/>
          </ac:spMkLst>
        </pc:spChg>
        <pc:spChg chg="mod">
          <ac:chgData name="Jacob, Karen (SPAC/PSPC) (elle-la / she-her)" userId="66e9cce0-e37b-4645-a907-f7690bd68dfb" providerId="ADAL" clId="{871AC57A-6E3B-4D85-BA02-8D6F5065EA89}" dt="2024-06-05T17:57:36.566" v="146"/>
          <ac:spMkLst>
            <pc:docMk/>
            <pc:sldMk cId="1903397118" sldId="5004"/>
            <ac:spMk id="79" creationId="{3F59CD68-7C27-5E84-57FD-8C7742CA5061}"/>
          </ac:spMkLst>
        </pc:spChg>
        <pc:spChg chg="mod">
          <ac:chgData name="Jacob, Karen (SPAC/PSPC) (elle-la / she-her)" userId="66e9cce0-e37b-4645-a907-f7690bd68dfb" providerId="ADAL" clId="{871AC57A-6E3B-4D85-BA02-8D6F5065EA89}" dt="2024-06-05T17:57:36.566" v="146"/>
          <ac:spMkLst>
            <pc:docMk/>
            <pc:sldMk cId="1903397118" sldId="5004"/>
            <ac:spMk id="80" creationId="{25504A52-B235-9040-CBFE-8296B1681ED3}"/>
          </ac:spMkLst>
        </pc:spChg>
        <pc:spChg chg="mod">
          <ac:chgData name="Jacob, Karen (SPAC/PSPC) (elle-la / she-her)" userId="66e9cce0-e37b-4645-a907-f7690bd68dfb" providerId="ADAL" clId="{871AC57A-6E3B-4D85-BA02-8D6F5065EA89}" dt="2024-06-05T17:57:36.566" v="146"/>
          <ac:spMkLst>
            <pc:docMk/>
            <pc:sldMk cId="1903397118" sldId="5004"/>
            <ac:spMk id="81" creationId="{B905BD11-D746-EC78-AC38-88B762F219E9}"/>
          </ac:spMkLst>
        </pc:spChg>
        <pc:spChg chg="mod">
          <ac:chgData name="Jacob, Karen (SPAC/PSPC) (elle-la / she-her)" userId="66e9cce0-e37b-4645-a907-f7690bd68dfb" providerId="ADAL" clId="{871AC57A-6E3B-4D85-BA02-8D6F5065EA89}" dt="2024-06-05T17:57:36.566" v="146"/>
          <ac:spMkLst>
            <pc:docMk/>
            <pc:sldMk cId="1903397118" sldId="5004"/>
            <ac:spMk id="82" creationId="{3ED2532C-3D6E-E7FD-7F1F-0E30734185A2}"/>
          </ac:spMkLst>
        </pc:spChg>
        <pc:spChg chg="mod">
          <ac:chgData name="Jacob, Karen (SPAC/PSPC) (elle-la / she-her)" userId="66e9cce0-e37b-4645-a907-f7690bd68dfb" providerId="ADAL" clId="{871AC57A-6E3B-4D85-BA02-8D6F5065EA89}" dt="2024-06-05T17:57:36.566" v="146"/>
          <ac:spMkLst>
            <pc:docMk/>
            <pc:sldMk cId="1903397118" sldId="5004"/>
            <ac:spMk id="83" creationId="{7F5802B9-B5AD-767F-4947-FA1998C14230}"/>
          </ac:spMkLst>
        </pc:spChg>
        <pc:spChg chg="mod">
          <ac:chgData name="Jacob, Karen (SPAC/PSPC) (elle-la / she-her)" userId="66e9cce0-e37b-4645-a907-f7690bd68dfb" providerId="ADAL" clId="{871AC57A-6E3B-4D85-BA02-8D6F5065EA89}" dt="2024-06-05T17:57:36.566" v="146"/>
          <ac:spMkLst>
            <pc:docMk/>
            <pc:sldMk cId="1903397118" sldId="5004"/>
            <ac:spMk id="84" creationId="{DE840534-41CE-3AFA-8BDD-AD2BABD70574}"/>
          </ac:spMkLst>
        </pc:spChg>
        <pc:spChg chg="mod">
          <ac:chgData name="Jacob, Karen (SPAC/PSPC) (elle-la / she-her)" userId="66e9cce0-e37b-4645-a907-f7690bd68dfb" providerId="ADAL" clId="{871AC57A-6E3B-4D85-BA02-8D6F5065EA89}" dt="2024-06-05T17:57:36.566" v="146"/>
          <ac:spMkLst>
            <pc:docMk/>
            <pc:sldMk cId="1903397118" sldId="5004"/>
            <ac:spMk id="85" creationId="{D27CBB78-F92A-74F1-716D-C29D29C4E2DD}"/>
          </ac:spMkLst>
        </pc:spChg>
        <pc:spChg chg="mod">
          <ac:chgData name="Jacob, Karen (SPAC/PSPC) (elle-la / she-her)" userId="66e9cce0-e37b-4645-a907-f7690bd68dfb" providerId="ADAL" clId="{871AC57A-6E3B-4D85-BA02-8D6F5065EA89}" dt="2024-06-05T17:57:36.566" v="146"/>
          <ac:spMkLst>
            <pc:docMk/>
            <pc:sldMk cId="1903397118" sldId="5004"/>
            <ac:spMk id="86" creationId="{9BCFA881-A5FE-0BF1-FBD9-7D89FE5F7363}"/>
          </ac:spMkLst>
        </pc:spChg>
        <pc:spChg chg="mod">
          <ac:chgData name="Jacob, Karen (SPAC/PSPC) (elle-la / she-her)" userId="66e9cce0-e37b-4645-a907-f7690bd68dfb" providerId="ADAL" clId="{871AC57A-6E3B-4D85-BA02-8D6F5065EA89}" dt="2024-06-05T17:57:36.566" v="146"/>
          <ac:spMkLst>
            <pc:docMk/>
            <pc:sldMk cId="1903397118" sldId="5004"/>
            <ac:spMk id="87" creationId="{C67913CA-FBB6-8E59-3B47-CC752D960E8A}"/>
          </ac:spMkLst>
        </pc:spChg>
        <pc:spChg chg="mod">
          <ac:chgData name="Jacob, Karen (SPAC/PSPC) (elle-la / she-her)" userId="66e9cce0-e37b-4645-a907-f7690bd68dfb" providerId="ADAL" clId="{871AC57A-6E3B-4D85-BA02-8D6F5065EA89}" dt="2024-06-05T17:57:36.566" v="146"/>
          <ac:spMkLst>
            <pc:docMk/>
            <pc:sldMk cId="1903397118" sldId="5004"/>
            <ac:spMk id="88" creationId="{4535D3C3-D201-46BD-517C-9EE96811D02C}"/>
          </ac:spMkLst>
        </pc:spChg>
        <pc:spChg chg="mod">
          <ac:chgData name="Jacob, Karen (SPAC/PSPC) (elle-la / she-her)" userId="66e9cce0-e37b-4645-a907-f7690bd68dfb" providerId="ADAL" clId="{871AC57A-6E3B-4D85-BA02-8D6F5065EA89}" dt="2024-06-05T17:57:36.566" v="146"/>
          <ac:spMkLst>
            <pc:docMk/>
            <pc:sldMk cId="1903397118" sldId="5004"/>
            <ac:spMk id="89" creationId="{6A7C07B4-68D1-A970-B605-24F35BBB35A7}"/>
          </ac:spMkLst>
        </pc:spChg>
        <pc:spChg chg="mod">
          <ac:chgData name="Jacob, Karen (SPAC/PSPC) (elle-la / she-her)" userId="66e9cce0-e37b-4645-a907-f7690bd68dfb" providerId="ADAL" clId="{871AC57A-6E3B-4D85-BA02-8D6F5065EA89}" dt="2024-06-05T17:57:36.566" v="146"/>
          <ac:spMkLst>
            <pc:docMk/>
            <pc:sldMk cId="1903397118" sldId="5004"/>
            <ac:spMk id="90" creationId="{D54D1952-E514-8DDC-7E7E-016D0797C5DA}"/>
          </ac:spMkLst>
        </pc:spChg>
        <pc:spChg chg="mod">
          <ac:chgData name="Jacob, Karen (SPAC/PSPC) (elle-la / she-her)" userId="66e9cce0-e37b-4645-a907-f7690bd68dfb" providerId="ADAL" clId="{871AC57A-6E3B-4D85-BA02-8D6F5065EA89}" dt="2024-06-05T17:57:36.566" v="146"/>
          <ac:spMkLst>
            <pc:docMk/>
            <pc:sldMk cId="1903397118" sldId="5004"/>
            <ac:spMk id="91" creationId="{5B1A05A6-4C75-FB67-F1FA-0477B6C4D8DB}"/>
          </ac:spMkLst>
        </pc:spChg>
        <pc:spChg chg="mod">
          <ac:chgData name="Jacob, Karen (SPAC/PSPC) (elle-la / she-her)" userId="66e9cce0-e37b-4645-a907-f7690bd68dfb" providerId="ADAL" clId="{871AC57A-6E3B-4D85-BA02-8D6F5065EA89}" dt="2024-06-05T17:57:36.566" v="146"/>
          <ac:spMkLst>
            <pc:docMk/>
            <pc:sldMk cId="1903397118" sldId="5004"/>
            <ac:spMk id="92" creationId="{C0247F68-5DEC-9445-26F3-EBB29D59670A}"/>
          </ac:spMkLst>
        </pc:spChg>
        <pc:spChg chg="mod">
          <ac:chgData name="Jacob, Karen (SPAC/PSPC) (elle-la / she-her)" userId="66e9cce0-e37b-4645-a907-f7690bd68dfb" providerId="ADAL" clId="{871AC57A-6E3B-4D85-BA02-8D6F5065EA89}" dt="2024-06-05T17:57:36.566" v="146"/>
          <ac:spMkLst>
            <pc:docMk/>
            <pc:sldMk cId="1903397118" sldId="5004"/>
            <ac:spMk id="93" creationId="{04B7802C-C2B8-F385-73CE-BD6028BC5CD9}"/>
          </ac:spMkLst>
        </pc:spChg>
        <pc:spChg chg="mod">
          <ac:chgData name="Jacob, Karen (SPAC/PSPC) (elle-la / she-her)" userId="66e9cce0-e37b-4645-a907-f7690bd68dfb" providerId="ADAL" clId="{871AC57A-6E3B-4D85-BA02-8D6F5065EA89}" dt="2024-06-05T17:57:36.566" v="146"/>
          <ac:spMkLst>
            <pc:docMk/>
            <pc:sldMk cId="1903397118" sldId="5004"/>
            <ac:spMk id="94" creationId="{AF45B23E-F4F9-8782-7347-DFFFDB4F1D87}"/>
          </ac:spMkLst>
        </pc:spChg>
        <pc:spChg chg="mod">
          <ac:chgData name="Jacob, Karen (SPAC/PSPC) (elle-la / she-her)" userId="66e9cce0-e37b-4645-a907-f7690bd68dfb" providerId="ADAL" clId="{871AC57A-6E3B-4D85-BA02-8D6F5065EA89}" dt="2024-06-05T17:57:36.566" v="146"/>
          <ac:spMkLst>
            <pc:docMk/>
            <pc:sldMk cId="1903397118" sldId="5004"/>
            <ac:spMk id="95" creationId="{C70949E6-BAFB-E76B-2247-74EAE192A0C7}"/>
          </ac:spMkLst>
        </pc:spChg>
        <pc:spChg chg="mod">
          <ac:chgData name="Jacob, Karen (SPAC/PSPC) (elle-la / she-her)" userId="66e9cce0-e37b-4645-a907-f7690bd68dfb" providerId="ADAL" clId="{871AC57A-6E3B-4D85-BA02-8D6F5065EA89}" dt="2024-06-05T17:57:36.566" v="146"/>
          <ac:spMkLst>
            <pc:docMk/>
            <pc:sldMk cId="1903397118" sldId="5004"/>
            <ac:spMk id="96" creationId="{7D6AA9AC-CF31-4BD3-0DEA-3E21ABB8D987}"/>
          </ac:spMkLst>
        </pc:spChg>
        <pc:spChg chg="mod">
          <ac:chgData name="Jacob, Karen (SPAC/PSPC) (elle-la / she-her)" userId="66e9cce0-e37b-4645-a907-f7690bd68dfb" providerId="ADAL" clId="{871AC57A-6E3B-4D85-BA02-8D6F5065EA89}" dt="2024-06-05T17:57:36.566" v="146"/>
          <ac:spMkLst>
            <pc:docMk/>
            <pc:sldMk cId="1903397118" sldId="5004"/>
            <ac:spMk id="97" creationId="{E5DDC2F8-7D3A-5274-47A4-E006F14B8389}"/>
          </ac:spMkLst>
        </pc:spChg>
        <pc:spChg chg="mod">
          <ac:chgData name="Jacob, Karen (SPAC/PSPC) (elle-la / she-her)" userId="66e9cce0-e37b-4645-a907-f7690bd68dfb" providerId="ADAL" clId="{871AC57A-6E3B-4D85-BA02-8D6F5065EA89}" dt="2024-06-05T17:57:36.566" v="146"/>
          <ac:spMkLst>
            <pc:docMk/>
            <pc:sldMk cId="1903397118" sldId="5004"/>
            <ac:spMk id="98" creationId="{39542B28-D6BC-B57B-E969-093A072412B3}"/>
          </ac:spMkLst>
        </pc:spChg>
        <pc:spChg chg="mod">
          <ac:chgData name="Jacob, Karen (SPAC/PSPC) (elle-la / she-her)" userId="66e9cce0-e37b-4645-a907-f7690bd68dfb" providerId="ADAL" clId="{871AC57A-6E3B-4D85-BA02-8D6F5065EA89}" dt="2024-06-05T17:57:36.566" v="146"/>
          <ac:spMkLst>
            <pc:docMk/>
            <pc:sldMk cId="1903397118" sldId="5004"/>
            <ac:spMk id="99" creationId="{E1F5CCAA-C317-B4FA-2BAD-80B7A8CE0347}"/>
          </ac:spMkLst>
        </pc:spChg>
        <pc:spChg chg="mod">
          <ac:chgData name="Jacob, Karen (SPAC/PSPC) (elle-la / she-her)" userId="66e9cce0-e37b-4645-a907-f7690bd68dfb" providerId="ADAL" clId="{871AC57A-6E3B-4D85-BA02-8D6F5065EA89}" dt="2024-06-05T17:57:36.566" v="146"/>
          <ac:spMkLst>
            <pc:docMk/>
            <pc:sldMk cId="1903397118" sldId="5004"/>
            <ac:spMk id="100" creationId="{D8375932-B7F5-10EF-FF44-6FD56C9E84C1}"/>
          </ac:spMkLst>
        </pc:spChg>
        <pc:spChg chg="mod">
          <ac:chgData name="Jacob, Karen (SPAC/PSPC) (elle-la / she-her)" userId="66e9cce0-e37b-4645-a907-f7690bd68dfb" providerId="ADAL" clId="{871AC57A-6E3B-4D85-BA02-8D6F5065EA89}" dt="2024-06-05T17:57:36.566" v="146"/>
          <ac:spMkLst>
            <pc:docMk/>
            <pc:sldMk cId="1903397118" sldId="5004"/>
            <ac:spMk id="101" creationId="{B6326457-A8C1-21CE-0863-BDC8DF179195}"/>
          </ac:spMkLst>
        </pc:spChg>
        <pc:spChg chg="mod">
          <ac:chgData name="Jacob, Karen (SPAC/PSPC) (elle-la / she-her)" userId="66e9cce0-e37b-4645-a907-f7690bd68dfb" providerId="ADAL" clId="{871AC57A-6E3B-4D85-BA02-8D6F5065EA89}" dt="2024-06-05T17:57:36.566" v="146"/>
          <ac:spMkLst>
            <pc:docMk/>
            <pc:sldMk cId="1903397118" sldId="5004"/>
            <ac:spMk id="102" creationId="{7627A84B-4C3A-2E2F-CA75-22E8F7E6D651}"/>
          </ac:spMkLst>
        </pc:spChg>
        <pc:spChg chg="mod">
          <ac:chgData name="Jacob, Karen (SPAC/PSPC) (elle-la / she-her)" userId="66e9cce0-e37b-4645-a907-f7690bd68dfb" providerId="ADAL" clId="{871AC57A-6E3B-4D85-BA02-8D6F5065EA89}" dt="2024-06-05T17:57:36.566" v="146"/>
          <ac:spMkLst>
            <pc:docMk/>
            <pc:sldMk cId="1903397118" sldId="5004"/>
            <ac:spMk id="103" creationId="{390E6BED-766A-7B05-D819-DDDD2C7D0619}"/>
          </ac:spMkLst>
        </pc:spChg>
        <pc:spChg chg="mod">
          <ac:chgData name="Jacob, Karen (SPAC/PSPC) (elle-la / she-her)" userId="66e9cce0-e37b-4645-a907-f7690bd68dfb" providerId="ADAL" clId="{871AC57A-6E3B-4D85-BA02-8D6F5065EA89}" dt="2024-06-05T17:57:36.566" v="146"/>
          <ac:spMkLst>
            <pc:docMk/>
            <pc:sldMk cId="1903397118" sldId="5004"/>
            <ac:spMk id="104" creationId="{7C362A91-DAF2-E156-FE5E-09668778318E}"/>
          </ac:spMkLst>
        </pc:spChg>
        <pc:spChg chg="mod">
          <ac:chgData name="Jacob, Karen (SPAC/PSPC) (elle-la / she-her)" userId="66e9cce0-e37b-4645-a907-f7690bd68dfb" providerId="ADAL" clId="{871AC57A-6E3B-4D85-BA02-8D6F5065EA89}" dt="2024-06-05T17:57:36.566" v="146"/>
          <ac:spMkLst>
            <pc:docMk/>
            <pc:sldMk cId="1903397118" sldId="5004"/>
            <ac:spMk id="105" creationId="{275FAAEF-EC2F-39CA-0B99-D010DC709365}"/>
          </ac:spMkLst>
        </pc:spChg>
        <pc:spChg chg="mod">
          <ac:chgData name="Jacob, Karen (SPAC/PSPC) (elle-la / she-her)" userId="66e9cce0-e37b-4645-a907-f7690bd68dfb" providerId="ADAL" clId="{871AC57A-6E3B-4D85-BA02-8D6F5065EA89}" dt="2024-06-05T17:57:36.566" v="146"/>
          <ac:spMkLst>
            <pc:docMk/>
            <pc:sldMk cId="1903397118" sldId="5004"/>
            <ac:spMk id="106" creationId="{BFB34C78-6602-ADDF-A416-03E6525BE4B4}"/>
          </ac:spMkLst>
        </pc:spChg>
        <pc:spChg chg="mod">
          <ac:chgData name="Jacob, Karen (SPAC/PSPC) (elle-la / she-her)" userId="66e9cce0-e37b-4645-a907-f7690bd68dfb" providerId="ADAL" clId="{871AC57A-6E3B-4D85-BA02-8D6F5065EA89}" dt="2024-06-05T17:57:36.566" v="146"/>
          <ac:spMkLst>
            <pc:docMk/>
            <pc:sldMk cId="1903397118" sldId="5004"/>
            <ac:spMk id="107" creationId="{C41AD9F7-6C74-DE7D-CE84-A481C4577904}"/>
          </ac:spMkLst>
        </pc:spChg>
        <pc:spChg chg="mod">
          <ac:chgData name="Jacob, Karen (SPAC/PSPC) (elle-la / she-her)" userId="66e9cce0-e37b-4645-a907-f7690bd68dfb" providerId="ADAL" clId="{871AC57A-6E3B-4D85-BA02-8D6F5065EA89}" dt="2024-06-05T17:57:36.566" v="146"/>
          <ac:spMkLst>
            <pc:docMk/>
            <pc:sldMk cId="1903397118" sldId="5004"/>
            <ac:spMk id="108" creationId="{8B7FF92F-8C17-DC71-3356-FB860C141D88}"/>
          </ac:spMkLst>
        </pc:spChg>
        <pc:spChg chg="mod">
          <ac:chgData name="Jacob, Karen (SPAC/PSPC) (elle-la / she-her)" userId="66e9cce0-e37b-4645-a907-f7690bd68dfb" providerId="ADAL" clId="{871AC57A-6E3B-4D85-BA02-8D6F5065EA89}" dt="2024-06-05T17:57:36.566" v="146"/>
          <ac:spMkLst>
            <pc:docMk/>
            <pc:sldMk cId="1903397118" sldId="5004"/>
            <ac:spMk id="109" creationId="{06641B49-5F93-3D8C-ECBF-8A2BA5BE3E5F}"/>
          </ac:spMkLst>
        </pc:spChg>
        <pc:spChg chg="mod">
          <ac:chgData name="Jacob, Karen (SPAC/PSPC) (elle-la / she-her)" userId="66e9cce0-e37b-4645-a907-f7690bd68dfb" providerId="ADAL" clId="{871AC57A-6E3B-4D85-BA02-8D6F5065EA89}" dt="2024-06-05T17:57:36.566" v="146"/>
          <ac:spMkLst>
            <pc:docMk/>
            <pc:sldMk cId="1903397118" sldId="5004"/>
            <ac:spMk id="110" creationId="{6B7C3E0A-ED8D-90F6-EFF9-3E4D8E02C5D2}"/>
          </ac:spMkLst>
        </pc:spChg>
        <pc:spChg chg="mod">
          <ac:chgData name="Jacob, Karen (SPAC/PSPC) (elle-la / she-her)" userId="66e9cce0-e37b-4645-a907-f7690bd68dfb" providerId="ADAL" clId="{871AC57A-6E3B-4D85-BA02-8D6F5065EA89}" dt="2024-06-05T17:57:36.566" v="146"/>
          <ac:spMkLst>
            <pc:docMk/>
            <pc:sldMk cId="1903397118" sldId="5004"/>
            <ac:spMk id="111" creationId="{AB8D2D30-9CA4-07D4-4ECB-0A522C36A802}"/>
          </ac:spMkLst>
        </pc:spChg>
        <pc:spChg chg="mod">
          <ac:chgData name="Jacob, Karen (SPAC/PSPC) (elle-la / she-her)" userId="66e9cce0-e37b-4645-a907-f7690bd68dfb" providerId="ADAL" clId="{871AC57A-6E3B-4D85-BA02-8D6F5065EA89}" dt="2024-06-05T17:57:36.566" v="146"/>
          <ac:spMkLst>
            <pc:docMk/>
            <pc:sldMk cId="1903397118" sldId="5004"/>
            <ac:spMk id="113" creationId="{7E1FB284-5CAB-6000-8D82-8F380A4663B8}"/>
          </ac:spMkLst>
        </pc:spChg>
        <pc:spChg chg="mod">
          <ac:chgData name="Jacob, Karen (SPAC/PSPC) (elle-la / she-her)" userId="66e9cce0-e37b-4645-a907-f7690bd68dfb" providerId="ADAL" clId="{871AC57A-6E3B-4D85-BA02-8D6F5065EA89}" dt="2024-06-05T17:57:36.566" v="146"/>
          <ac:spMkLst>
            <pc:docMk/>
            <pc:sldMk cId="1903397118" sldId="5004"/>
            <ac:spMk id="116" creationId="{5E49051C-3DBE-A209-15D8-3261A96A342F}"/>
          </ac:spMkLst>
        </pc:spChg>
        <pc:spChg chg="mod">
          <ac:chgData name="Jacob, Karen (SPAC/PSPC) (elle-la / she-her)" userId="66e9cce0-e37b-4645-a907-f7690bd68dfb" providerId="ADAL" clId="{871AC57A-6E3B-4D85-BA02-8D6F5065EA89}" dt="2024-06-05T17:57:36.566" v="146"/>
          <ac:spMkLst>
            <pc:docMk/>
            <pc:sldMk cId="1903397118" sldId="5004"/>
            <ac:spMk id="118" creationId="{619168B9-D91B-4565-A6D0-B467A4625071}"/>
          </ac:spMkLst>
        </pc:spChg>
        <pc:spChg chg="mod">
          <ac:chgData name="Jacob, Karen (SPAC/PSPC) (elle-la / she-her)" userId="66e9cce0-e37b-4645-a907-f7690bd68dfb" providerId="ADAL" clId="{871AC57A-6E3B-4D85-BA02-8D6F5065EA89}" dt="2024-06-05T17:57:36.566" v="146"/>
          <ac:spMkLst>
            <pc:docMk/>
            <pc:sldMk cId="1903397118" sldId="5004"/>
            <ac:spMk id="119" creationId="{703EEBD4-314F-411A-F42A-C38CB39F16B1}"/>
          </ac:spMkLst>
        </pc:spChg>
        <pc:spChg chg="mod">
          <ac:chgData name="Jacob, Karen (SPAC/PSPC) (elle-la / she-her)" userId="66e9cce0-e37b-4645-a907-f7690bd68dfb" providerId="ADAL" clId="{871AC57A-6E3B-4D85-BA02-8D6F5065EA89}" dt="2024-06-05T17:57:36.566" v="146"/>
          <ac:spMkLst>
            <pc:docMk/>
            <pc:sldMk cId="1903397118" sldId="5004"/>
            <ac:spMk id="121" creationId="{3D82D8B4-E0D5-E32B-463D-450D744FA29B}"/>
          </ac:spMkLst>
        </pc:spChg>
        <pc:spChg chg="mod">
          <ac:chgData name="Jacob, Karen (SPAC/PSPC) (elle-la / she-her)" userId="66e9cce0-e37b-4645-a907-f7690bd68dfb" providerId="ADAL" clId="{871AC57A-6E3B-4D85-BA02-8D6F5065EA89}" dt="2024-06-05T17:57:36.566" v="146"/>
          <ac:spMkLst>
            <pc:docMk/>
            <pc:sldMk cId="1903397118" sldId="5004"/>
            <ac:spMk id="122" creationId="{81656138-CEA5-6938-278E-BAC1B65AA7DF}"/>
          </ac:spMkLst>
        </pc:spChg>
        <pc:spChg chg="mod">
          <ac:chgData name="Jacob, Karen (SPAC/PSPC) (elle-la / she-her)" userId="66e9cce0-e37b-4645-a907-f7690bd68dfb" providerId="ADAL" clId="{871AC57A-6E3B-4D85-BA02-8D6F5065EA89}" dt="2024-06-05T17:57:36.566" v="146"/>
          <ac:spMkLst>
            <pc:docMk/>
            <pc:sldMk cId="1903397118" sldId="5004"/>
            <ac:spMk id="123" creationId="{97AB0333-DE57-69D1-77D6-2E3306E629D6}"/>
          </ac:spMkLst>
        </pc:spChg>
        <pc:spChg chg="mod">
          <ac:chgData name="Jacob, Karen (SPAC/PSPC) (elle-la / she-her)" userId="66e9cce0-e37b-4645-a907-f7690bd68dfb" providerId="ADAL" clId="{871AC57A-6E3B-4D85-BA02-8D6F5065EA89}" dt="2024-06-05T17:57:36.566" v="146"/>
          <ac:spMkLst>
            <pc:docMk/>
            <pc:sldMk cId="1903397118" sldId="5004"/>
            <ac:spMk id="124" creationId="{976B6E8E-8416-071B-A5F0-0EAD1B0AFDA1}"/>
          </ac:spMkLst>
        </pc:spChg>
        <pc:spChg chg="mod">
          <ac:chgData name="Jacob, Karen (SPAC/PSPC) (elle-la / she-her)" userId="66e9cce0-e37b-4645-a907-f7690bd68dfb" providerId="ADAL" clId="{871AC57A-6E3B-4D85-BA02-8D6F5065EA89}" dt="2024-06-05T17:57:36.566" v="146"/>
          <ac:spMkLst>
            <pc:docMk/>
            <pc:sldMk cId="1903397118" sldId="5004"/>
            <ac:spMk id="125" creationId="{02CDC2B3-EFE7-22CB-AE70-C073F5A7A022}"/>
          </ac:spMkLst>
        </pc:spChg>
        <pc:spChg chg="mod">
          <ac:chgData name="Jacob, Karen (SPAC/PSPC) (elle-la / she-her)" userId="66e9cce0-e37b-4645-a907-f7690bd68dfb" providerId="ADAL" clId="{871AC57A-6E3B-4D85-BA02-8D6F5065EA89}" dt="2024-06-05T17:57:36.566" v="146"/>
          <ac:spMkLst>
            <pc:docMk/>
            <pc:sldMk cId="1903397118" sldId="5004"/>
            <ac:spMk id="126" creationId="{F4C4D0F6-AF28-EA73-D670-6D34C86CD72E}"/>
          </ac:spMkLst>
        </pc:spChg>
        <pc:spChg chg="mod">
          <ac:chgData name="Jacob, Karen (SPAC/PSPC) (elle-la / she-her)" userId="66e9cce0-e37b-4645-a907-f7690bd68dfb" providerId="ADAL" clId="{871AC57A-6E3B-4D85-BA02-8D6F5065EA89}" dt="2024-06-05T17:57:36.566" v="146"/>
          <ac:spMkLst>
            <pc:docMk/>
            <pc:sldMk cId="1903397118" sldId="5004"/>
            <ac:spMk id="127" creationId="{304B0CBC-B3D2-8258-F5EF-863CD14B8859}"/>
          </ac:spMkLst>
        </pc:spChg>
        <pc:spChg chg="mod">
          <ac:chgData name="Jacob, Karen (SPAC/PSPC) (elle-la / she-her)" userId="66e9cce0-e37b-4645-a907-f7690bd68dfb" providerId="ADAL" clId="{871AC57A-6E3B-4D85-BA02-8D6F5065EA89}" dt="2024-06-05T17:57:36.566" v="146"/>
          <ac:spMkLst>
            <pc:docMk/>
            <pc:sldMk cId="1903397118" sldId="5004"/>
            <ac:spMk id="128" creationId="{BDB47304-D15A-8B0A-F8AE-0C3FF7ED408E}"/>
          </ac:spMkLst>
        </pc:spChg>
        <pc:spChg chg="mod">
          <ac:chgData name="Jacob, Karen (SPAC/PSPC) (elle-la / she-her)" userId="66e9cce0-e37b-4645-a907-f7690bd68dfb" providerId="ADAL" clId="{871AC57A-6E3B-4D85-BA02-8D6F5065EA89}" dt="2024-06-05T17:57:36.566" v="146"/>
          <ac:spMkLst>
            <pc:docMk/>
            <pc:sldMk cId="1903397118" sldId="5004"/>
            <ac:spMk id="129" creationId="{39118BA1-D270-DED6-EA03-C2852EBDFE1A}"/>
          </ac:spMkLst>
        </pc:spChg>
        <pc:spChg chg="mod">
          <ac:chgData name="Jacob, Karen (SPAC/PSPC) (elle-la / she-her)" userId="66e9cce0-e37b-4645-a907-f7690bd68dfb" providerId="ADAL" clId="{871AC57A-6E3B-4D85-BA02-8D6F5065EA89}" dt="2024-06-05T17:57:36.566" v="146"/>
          <ac:spMkLst>
            <pc:docMk/>
            <pc:sldMk cId="1903397118" sldId="5004"/>
            <ac:spMk id="130" creationId="{8143C546-709B-8D1B-FF7C-E3300FB6718E}"/>
          </ac:spMkLst>
        </pc:spChg>
        <pc:spChg chg="mod">
          <ac:chgData name="Jacob, Karen (SPAC/PSPC) (elle-la / she-her)" userId="66e9cce0-e37b-4645-a907-f7690bd68dfb" providerId="ADAL" clId="{871AC57A-6E3B-4D85-BA02-8D6F5065EA89}" dt="2024-06-05T17:57:36.566" v="146"/>
          <ac:spMkLst>
            <pc:docMk/>
            <pc:sldMk cId="1903397118" sldId="5004"/>
            <ac:spMk id="131" creationId="{3BBF554A-A643-52B0-6054-CE4CEB52BE0C}"/>
          </ac:spMkLst>
        </pc:spChg>
        <pc:spChg chg="mod">
          <ac:chgData name="Jacob, Karen (SPAC/PSPC) (elle-la / she-her)" userId="66e9cce0-e37b-4645-a907-f7690bd68dfb" providerId="ADAL" clId="{871AC57A-6E3B-4D85-BA02-8D6F5065EA89}" dt="2024-06-05T17:57:36.566" v="146"/>
          <ac:spMkLst>
            <pc:docMk/>
            <pc:sldMk cId="1903397118" sldId="5004"/>
            <ac:spMk id="132" creationId="{ADCFDB89-E7BA-1315-2107-B43BC008377F}"/>
          </ac:spMkLst>
        </pc:spChg>
        <pc:spChg chg="mod">
          <ac:chgData name="Jacob, Karen (SPAC/PSPC) (elle-la / she-her)" userId="66e9cce0-e37b-4645-a907-f7690bd68dfb" providerId="ADAL" clId="{871AC57A-6E3B-4D85-BA02-8D6F5065EA89}" dt="2024-06-05T17:57:36.566" v="146"/>
          <ac:spMkLst>
            <pc:docMk/>
            <pc:sldMk cId="1903397118" sldId="5004"/>
            <ac:spMk id="133" creationId="{692D97E4-F06A-B45E-E354-57F677935D66}"/>
          </ac:spMkLst>
        </pc:spChg>
        <pc:spChg chg="mod">
          <ac:chgData name="Jacob, Karen (SPAC/PSPC) (elle-la / she-her)" userId="66e9cce0-e37b-4645-a907-f7690bd68dfb" providerId="ADAL" clId="{871AC57A-6E3B-4D85-BA02-8D6F5065EA89}" dt="2024-06-05T17:57:36.566" v="146"/>
          <ac:spMkLst>
            <pc:docMk/>
            <pc:sldMk cId="1903397118" sldId="5004"/>
            <ac:spMk id="134" creationId="{44B5ACEE-2A34-D095-025E-D566286E7218}"/>
          </ac:spMkLst>
        </pc:spChg>
        <pc:spChg chg="mod">
          <ac:chgData name="Jacob, Karen (SPAC/PSPC) (elle-la / she-her)" userId="66e9cce0-e37b-4645-a907-f7690bd68dfb" providerId="ADAL" clId="{871AC57A-6E3B-4D85-BA02-8D6F5065EA89}" dt="2024-06-05T17:57:36.566" v="146"/>
          <ac:spMkLst>
            <pc:docMk/>
            <pc:sldMk cId="1903397118" sldId="5004"/>
            <ac:spMk id="135" creationId="{D5CC99BA-ACBD-1E10-FFF5-FDB5A8953BEF}"/>
          </ac:spMkLst>
        </pc:spChg>
        <pc:spChg chg="mod">
          <ac:chgData name="Jacob, Karen (SPAC/PSPC) (elle-la / she-her)" userId="66e9cce0-e37b-4645-a907-f7690bd68dfb" providerId="ADAL" clId="{871AC57A-6E3B-4D85-BA02-8D6F5065EA89}" dt="2024-06-05T17:57:36.566" v="146"/>
          <ac:spMkLst>
            <pc:docMk/>
            <pc:sldMk cId="1903397118" sldId="5004"/>
            <ac:spMk id="136" creationId="{BF90E114-1A91-9096-082A-FA91D56B74AC}"/>
          </ac:spMkLst>
        </pc:spChg>
        <pc:spChg chg="mod">
          <ac:chgData name="Jacob, Karen (SPAC/PSPC) (elle-la / she-her)" userId="66e9cce0-e37b-4645-a907-f7690bd68dfb" providerId="ADAL" clId="{871AC57A-6E3B-4D85-BA02-8D6F5065EA89}" dt="2024-06-05T17:57:36.566" v="146"/>
          <ac:spMkLst>
            <pc:docMk/>
            <pc:sldMk cId="1903397118" sldId="5004"/>
            <ac:spMk id="137" creationId="{CE4417DD-2581-A673-D5E3-2EC1C8978BE7}"/>
          </ac:spMkLst>
        </pc:spChg>
        <pc:spChg chg="mod">
          <ac:chgData name="Jacob, Karen (SPAC/PSPC) (elle-la / she-her)" userId="66e9cce0-e37b-4645-a907-f7690bd68dfb" providerId="ADAL" clId="{871AC57A-6E3B-4D85-BA02-8D6F5065EA89}" dt="2024-06-05T17:57:36.566" v="146"/>
          <ac:spMkLst>
            <pc:docMk/>
            <pc:sldMk cId="1903397118" sldId="5004"/>
            <ac:spMk id="138" creationId="{9E2FB841-9615-B8A8-263B-CE7F1B2E7E46}"/>
          </ac:spMkLst>
        </pc:spChg>
        <pc:spChg chg="mod">
          <ac:chgData name="Jacob, Karen (SPAC/PSPC) (elle-la / she-her)" userId="66e9cce0-e37b-4645-a907-f7690bd68dfb" providerId="ADAL" clId="{871AC57A-6E3B-4D85-BA02-8D6F5065EA89}" dt="2024-06-05T17:57:36.566" v="146"/>
          <ac:spMkLst>
            <pc:docMk/>
            <pc:sldMk cId="1903397118" sldId="5004"/>
            <ac:spMk id="139" creationId="{432C5A6F-0996-7DB8-C53B-244F8EFCDE6D}"/>
          </ac:spMkLst>
        </pc:spChg>
        <pc:spChg chg="mod">
          <ac:chgData name="Jacob, Karen (SPAC/PSPC) (elle-la / she-her)" userId="66e9cce0-e37b-4645-a907-f7690bd68dfb" providerId="ADAL" clId="{871AC57A-6E3B-4D85-BA02-8D6F5065EA89}" dt="2024-06-05T17:57:36.566" v="146"/>
          <ac:spMkLst>
            <pc:docMk/>
            <pc:sldMk cId="1903397118" sldId="5004"/>
            <ac:spMk id="140" creationId="{C0AB91AC-5726-7F25-51CC-43BF286632B5}"/>
          </ac:spMkLst>
        </pc:spChg>
        <pc:spChg chg="mod">
          <ac:chgData name="Jacob, Karen (SPAC/PSPC) (elle-la / she-her)" userId="66e9cce0-e37b-4645-a907-f7690bd68dfb" providerId="ADAL" clId="{871AC57A-6E3B-4D85-BA02-8D6F5065EA89}" dt="2024-06-05T17:57:36.566" v="146"/>
          <ac:spMkLst>
            <pc:docMk/>
            <pc:sldMk cId="1903397118" sldId="5004"/>
            <ac:spMk id="141" creationId="{D36EB7B7-219C-866E-7C23-EF5E0FA31AE5}"/>
          </ac:spMkLst>
        </pc:spChg>
        <pc:spChg chg="mod">
          <ac:chgData name="Jacob, Karen (SPAC/PSPC) (elle-la / she-her)" userId="66e9cce0-e37b-4645-a907-f7690bd68dfb" providerId="ADAL" clId="{871AC57A-6E3B-4D85-BA02-8D6F5065EA89}" dt="2024-06-05T17:57:36.566" v="146"/>
          <ac:spMkLst>
            <pc:docMk/>
            <pc:sldMk cId="1903397118" sldId="5004"/>
            <ac:spMk id="142" creationId="{00432ADF-3DAA-219F-6936-B47243318D25}"/>
          </ac:spMkLst>
        </pc:spChg>
        <pc:spChg chg="mod">
          <ac:chgData name="Jacob, Karen (SPAC/PSPC) (elle-la / she-her)" userId="66e9cce0-e37b-4645-a907-f7690bd68dfb" providerId="ADAL" clId="{871AC57A-6E3B-4D85-BA02-8D6F5065EA89}" dt="2024-06-05T17:57:36.566" v="146"/>
          <ac:spMkLst>
            <pc:docMk/>
            <pc:sldMk cId="1903397118" sldId="5004"/>
            <ac:spMk id="143" creationId="{FBA5B74F-2BB8-AEFB-D86C-FE5CA76C371D}"/>
          </ac:spMkLst>
        </pc:spChg>
        <pc:spChg chg="mod">
          <ac:chgData name="Jacob, Karen (SPAC/PSPC) (elle-la / she-her)" userId="66e9cce0-e37b-4645-a907-f7690bd68dfb" providerId="ADAL" clId="{871AC57A-6E3B-4D85-BA02-8D6F5065EA89}" dt="2024-06-05T17:57:36.566" v="146"/>
          <ac:spMkLst>
            <pc:docMk/>
            <pc:sldMk cId="1903397118" sldId="5004"/>
            <ac:spMk id="144" creationId="{C61D99D4-A2F9-F7FA-98C7-3EE33D25D337}"/>
          </ac:spMkLst>
        </pc:spChg>
        <pc:spChg chg="mod">
          <ac:chgData name="Jacob, Karen (SPAC/PSPC) (elle-la / she-her)" userId="66e9cce0-e37b-4645-a907-f7690bd68dfb" providerId="ADAL" clId="{871AC57A-6E3B-4D85-BA02-8D6F5065EA89}" dt="2024-06-05T17:57:36.566" v="146"/>
          <ac:spMkLst>
            <pc:docMk/>
            <pc:sldMk cId="1903397118" sldId="5004"/>
            <ac:spMk id="145" creationId="{B874A8D0-8BB8-4134-8A86-5D3E34EBEEE0}"/>
          </ac:spMkLst>
        </pc:spChg>
        <pc:spChg chg="mod">
          <ac:chgData name="Jacob, Karen (SPAC/PSPC) (elle-la / she-her)" userId="66e9cce0-e37b-4645-a907-f7690bd68dfb" providerId="ADAL" clId="{871AC57A-6E3B-4D85-BA02-8D6F5065EA89}" dt="2024-06-05T17:57:36.566" v="146"/>
          <ac:spMkLst>
            <pc:docMk/>
            <pc:sldMk cId="1903397118" sldId="5004"/>
            <ac:spMk id="146" creationId="{555B335C-0AE6-626B-4444-F6DC3D4CC7F2}"/>
          </ac:spMkLst>
        </pc:spChg>
        <pc:spChg chg="mod">
          <ac:chgData name="Jacob, Karen (SPAC/PSPC) (elle-la / she-her)" userId="66e9cce0-e37b-4645-a907-f7690bd68dfb" providerId="ADAL" clId="{871AC57A-6E3B-4D85-BA02-8D6F5065EA89}" dt="2024-06-05T17:57:36.566" v="146"/>
          <ac:spMkLst>
            <pc:docMk/>
            <pc:sldMk cId="1903397118" sldId="5004"/>
            <ac:spMk id="147" creationId="{0110F9CB-6AA4-546E-E404-B38C9EC4C921}"/>
          </ac:spMkLst>
        </pc:spChg>
        <pc:spChg chg="mod">
          <ac:chgData name="Jacob, Karen (SPAC/PSPC) (elle-la / she-her)" userId="66e9cce0-e37b-4645-a907-f7690bd68dfb" providerId="ADAL" clId="{871AC57A-6E3B-4D85-BA02-8D6F5065EA89}" dt="2024-06-05T17:57:36.566" v="146"/>
          <ac:spMkLst>
            <pc:docMk/>
            <pc:sldMk cId="1903397118" sldId="5004"/>
            <ac:spMk id="148" creationId="{F1946410-D221-D0C7-928F-DA8508A84536}"/>
          </ac:spMkLst>
        </pc:spChg>
        <pc:spChg chg="mod">
          <ac:chgData name="Jacob, Karen (SPAC/PSPC) (elle-la / she-her)" userId="66e9cce0-e37b-4645-a907-f7690bd68dfb" providerId="ADAL" clId="{871AC57A-6E3B-4D85-BA02-8D6F5065EA89}" dt="2024-06-05T17:57:36.566" v="146"/>
          <ac:spMkLst>
            <pc:docMk/>
            <pc:sldMk cId="1903397118" sldId="5004"/>
            <ac:spMk id="149" creationId="{DA924EFA-DA6C-4E31-850B-A52B324C49E4}"/>
          </ac:spMkLst>
        </pc:spChg>
        <pc:spChg chg="mod">
          <ac:chgData name="Jacob, Karen (SPAC/PSPC) (elle-la / she-her)" userId="66e9cce0-e37b-4645-a907-f7690bd68dfb" providerId="ADAL" clId="{871AC57A-6E3B-4D85-BA02-8D6F5065EA89}" dt="2024-06-05T17:57:36.566" v="146"/>
          <ac:spMkLst>
            <pc:docMk/>
            <pc:sldMk cId="1903397118" sldId="5004"/>
            <ac:spMk id="150" creationId="{34D5BFB0-EF66-4088-B8A0-CD5C3E6C4482}"/>
          </ac:spMkLst>
        </pc:spChg>
        <pc:spChg chg="mod">
          <ac:chgData name="Jacob, Karen (SPAC/PSPC) (elle-la / she-her)" userId="66e9cce0-e37b-4645-a907-f7690bd68dfb" providerId="ADAL" clId="{871AC57A-6E3B-4D85-BA02-8D6F5065EA89}" dt="2024-06-05T17:57:36.566" v="146"/>
          <ac:spMkLst>
            <pc:docMk/>
            <pc:sldMk cId="1903397118" sldId="5004"/>
            <ac:spMk id="151" creationId="{4735D640-CEB8-72CF-2670-D90A8A75F9F3}"/>
          </ac:spMkLst>
        </pc:spChg>
        <pc:spChg chg="mod">
          <ac:chgData name="Jacob, Karen (SPAC/PSPC) (elle-la / she-her)" userId="66e9cce0-e37b-4645-a907-f7690bd68dfb" providerId="ADAL" clId="{871AC57A-6E3B-4D85-BA02-8D6F5065EA89}" dt="2024-06-05T17:57:36.566" v="146"/>
          <ac:spMkLst>
            <pc:docMk/>
            <pc:sldMk cId="1903397118" sldId="5004"/>
            <ac:spMk id="152" creationId="{684DAB29-21CF-C621-FB3A-6D86BA3CE689}"/>
          </ac:spMkLst>
        </pc:spChg>
        <pc:spChg chg="mod">
          <ac:chgData name="Jacob, Karen (SPAC/PSPC) (elle-la / she-her)" userId="66e9cce0-e37b-4645-a907-f7690bd68dfb" providerId="ADAL" clId="{871AC57A-6E3B-4D85-BA02-8D6F5065EA89}" dt="2024-06-05T17:57:36.566" v="146"/>
          <ac:spMkLst>
            <pc:docMk/>
            <pc:sldMk cId="1903397118" sldId="5004"/>
            <ac:spMk id="153" creationId="{4B1EC1A5-EA0F-A783-A927-19FF7F836E4F}"/>
          </ac:spMkLst>
        </pc:spChg>
        <pc:spChg chg="mod">
          <ac:chgData name="Jacob, Karen (SPAC/PSPC) (elle-la / she-her)" userId="66e9cce0-e37b-4645-a907-f7690bd68dfb" providerId="ADAL" clId="{871AC57A-6E3B-4D85-BA02-8D6F5065EA89}" dt="2024-06-05T17:57:36.566" v="146"/>
          <ac:spMkLst>
            <pc:docMk/>
            <pc:sldMk cId="1903397118" sldId="5004"/>
            <ac:spMk id="154" creationId="{D6E239E8-6F5B-2823-E189-0D7ADB6B7337}"/>
          </ac:spMkLst>
        </pc:spChg>
        <pc:spChg chg="mod">
          <ac:chgData name="Jacob, Karen (SPAC/PSPC) (elle-la / she-her)" userId="66e9cce0-e37b-4645-a907-f7690bd68dfb" providerId="ADAL" clId="{871AC57A-6E3B-4D85-BA02-8D6F5065EA89}" dt="2024-06-05T17:57:36.566" v="146"/>
          <ac:spMkLst>
            <pc:docMk/>
            <pc:sldMk cId="1903397118" sldId="5004"/>
            <ac:spMk id="155" creationId="{5E5D856C-ECE3-1997-E3AF-AF93C1BAF944}"/>
          </ac:spMkLst>
        </pc:spChg>
        <pc:spChg chg="mod">
          <ac:chgData name="Jacob, Karen (SPAC/PSPC) (elle-la / she-her)" userId="66e9cce0-e37b-4645-a907-f7690bd68dfb" providerId="ADAL" clId="{871AC57A-6E3B-4D85-BA02-8D6F5065EA89}" dt="2024-06-05T17:57:36.566" v="146"/>
          <ac:spMkLst>
            <pc:docMk/>
            <pc:sldMk cId="1903397118" sldId="5004"/>
            <ac:spMk id="156" creationId="{88A571E4-BB04-1CF8-9084-07217D7E9A96}"/>
          </ac:spMkLst>
        </pc:spChg>
        <pc:spChg chg="mod">
          <ac:chgData name="Jacob, Karen (SPAC/PSPC) (elle-la / she-her)" userId="66e9cce0-e37b-4645-a907-f7690bd68dfb" providerId="ADAL" clId="{871AC57A-6E3B-4D85-BA02-8D6F5065EA89}" dt="2024-06-05T17:57:36.566" v="146"/>
          <ac:spMkLst>
            <pc:docMk/>
            <pc:sldMk cId="1903397118" sldId="5004"/>
            <ac:spMk id="157" creationId="{8B6C933E-86FE-5316-0121-71E3042D87F3}"/>
          </ac:spMkLst>
        </pc:spChg>
        <pc:spChg chg="mod">
          <ac:chgData name="Jacob, Karen (SPAC/PSPC) (elle-la / she-her)" userId="66e9cce0-e37b-4645-a907-f7690bd68dfb" providerId="ADAL" clId="{871AC57A-6E3B-4D85-BA02-8D6F5065EA89}" dt="2024-06-05T17:57:36.566" v="146"/>
          <ac:spMkLst>
            <pc:docMk/>
            <pc:sldMk cId="1903397118" sldId="5004"/>
            <ac:spMk id="158" creationId="{00587F10-6853-DB94-7D89-F24EA90E56C9}"/>
          </ac:spMkLst>
        </pc:spChg>
        <pc:spChg chg="mod">
          <ac:chgData name="Jacob, Karen (SPAC/PSPC) (elle-la / she-her)" userId="66e9cce0-e37b-4645-a907-f7690bd68dfb" providerId="ADAL" clId="{871AC57A-6E3B-4D85-BA02-8D6F5065EA89}" dt="2024-06-05T17:57:36.566" v="146"/>
          <ac:spMkLst>
            <pc:docMk/>
            <pc:sldMk cId="1903397118" sldId="5004"/>
            <ac:spMk id="159" creationId="{98001638-4E30-ADDB-39E8-6FD9D2B74F5E}"/>
          </ac:spMkLst>
        </pc:spChg>
        <pc:spChg chg="mod">
          <ac:chgData name="Jacob, Karen (SPAC/PSPC) (elle-la / she-her)" userId="66e9cce0-e37b-4645-a907-f7690bd68dfb" providerId="ADAL" clId="{871AC57A-6E3B-4D85-BA02-8D6F5065EA89}" dt="2024-06-05T17:57:36.566" v="146"/>
          <ac:spMkLst>
            <pc:docMk/>
            <pc:sldMk cId="1903397118" sldId="5004"/>
            <ac:spMk id="160" creationId="{524FBC6F-008B-47BD-9B40-B183785B9167}"/>
          </ac:spMkLst>
        </pc:spChg>
        <pc:spChg chg="mod">
          <ac:chgData name="Jacob, Karen (SPAC/PSPC) (elle-la / she-her)" userId="66e9cce0-e37b-4645-a907-f7690bd68dfb" providerId="ADAL" clId="{871AC57A-6E3B-4D85-BA02-8D6F5065EA89}" dt="2024-06-05T17:57:36.566" v="146"/>
          <ac:spMkLst>
            <pc:docMk/>
            <pc:sldMk cId="1903397118" sldId="5004"/>
            <ac:spMk id="161" creationId="{426CE642-F77A-F89F-EFB5-548035F9162E}"/>
          </ac:spMkLst>
        </pc:spChg>
        <pc:spChg chg="mod">
          <ac:chgData name="Jacob, Karen (SPAC/PSPC) (elle-la / she-her)" userId="66e9cce0-e37b-4645-a907-f7690bd68dfb" providerId="ADAL" clId="{871AC57A-6E3B-4D85-BA02-8D6F5065EA89}" dt="2024-06-05T17:57:36.566" v="146"/>
          <ac:spMkLst>
            <pc:docMk/>
            <pc:sldMk cId="1903397118" sldId="5004"/>
            <ac:spMk id="162" creationId="{AB964056-44BD-ECF4-A236-2BFEEBEFF8A0}"/>
          </ac:spMkLst>
        </pc:spChg>
        <pc:spChg chg="add mod">
          <ac:chgData name="Jacob, Karen (SPAC/PSPC) (elle-la / she-her)" userId="66e9cce0-e37b-4645-a907-f7690bd68dfb" providerId="ADAL" clId="{871AC57A-6E3B-4D85-BA02-8D6F5065EA89}" dt="2024-06-05T17:57:36.566" v="146"/>
          <ac:spMkLst>
            <pc:docMk/>
            <pc:sldMk cId="1903397118" sldId="5004"/>
            <ac:spMk id="163" creationId="{49C12D4A-1C1B-A87B-839F-6D065985BAA0}"/>
          </ac:spMkLst>
        </pc:spChg>
        <pc:spChg chg="add mod">
          <ac:chgData name="Jacob, Karen (SPAC/PSPC) (elle-la / she-her)" userId="66e9cce0-e37b-4645-a907-f7690bd68dfb" providerId="ADAL" clId="{871AC57A-6E3B-4D85-BA02-8D6F5065EA89}" dt="2024-06-05T17:57:36.566" v="146"/>
          <ac:spMkLst>
            <pc:docMk/>
            <pc:sldMk cId="1903397118" sldId="5004"/>
            <ac:spMk id="164" creationId="{569A64ED-1470-7E05-808F-FE272E8E92EA}"/>
          </ac:spMkLst>
        </pc:spChg>
        <pc:spChg chg="mod">
          <ac:chgData name="Jacob, Karen (SPAC/PSPC) (elle-la / she-her)" userId="66e9cce0-e37b-4645-a907-f7690bd68dfb" providerId="ADAL" clId="{871AC57A-6E3B-4D85-BA02-8D6F5065EA89}" dt="2024-06-05T17:57:36.566" v="146"/>
          <ac:spMkLst>
            <pc:docMk/>
            <pc:sldMk cId="1903397118" sldId="5004"/>
            <ac:spMk id="166" creationId="{97EBCFEC-23C4-1282-3DE6-72F7D50BC431}"/>
          </ac:spMkLst>
        </pc:spChg>
        <pc:spChg chg="mod">
          <ac:chgData name="Jacob, Karen (SPAC/PSPC) (elle-la / she-her)" userId="66e9cce0-e37b-4645-a907-f7690bd68dfb" providerId="ADAL" clId="{871AC57A-6E3B-4D85-BA02-8D6F5065EA89}" dt="2024-06-05T17:57:36.566" v="146"/>
          <ac:spMkLst>
            <pc:docMk/>
            <pc:sldMk cId="1903397118" sldId="5004"/>
            <ac:spMk id="182" creationId="{D03630E6-5860-9B19-4514-6646A4415746}"/>
          </ac:spMkLst>
        </pc:spChg>
        <pc:spChg chg="mod">
          <ac:chgData name="Jacob, Karen (SPAC/PSPC) (elle-la / she-her)" userId="66e9cce0-e37b-4645-a907-f7690bd68dfb" providerId="ADAL" clId="{871AC57A-6E3B-4D85-BA02-8D6F5065EA89}" dt="2024-06-05T17:57:36.566" v="146"/>
          <ac:spMkLst>
            <pc:docMk/>
            <pc:sldMk cId="1903397118" sldId="5004"/>
            <ac:spMk id="183" creationId="{7FBAE34B-42CF-9F08-A2BD-C0ABC37692C8}"/>
          </ac:spMkLst>
        </pc:spChg>
        <pc:spChg chg="mod">
          <ac:chgData name="Jacob, Karen (SPAC/PSPC) (elle-la / she-her)" userId="66e9cce0-e37b-4645-a907-f7690bd68dfb" providerId="ADAL" clId="{871AC57A-6E3B-4D85-BA02-8D6F5065EA89}" dt="2024-06-05T17:57:36.566" v="146"/>
          <ac:spMkLst>
            <pc:docMk/>
            <pc:sldMk cId="1903397118" sldId="5004"/>
            <ac:spMk id="184" creationId="{0C604831-3DB7-953A-FA15-FD7426CE8960}"/>
          </ac:spMkLst>
        </pc:spChg>
        <pc:spChg chg="mod">
          <ac:chgData name="Jacob, Karen (SPAC/PSPC) (elle-la / she-her)" userId="66e9cce0-e37b-4645-a907-f7690bd68dfb" providerId="ADAL" clId="{871AC57A-6E3B-4D85-BA02-8D6F5065EA89}" dt="2024-06-05T17:57:36.566" v="146"/>
          <ac:spMkLst>
            <pc:docMk/>
            <pc:sldMk cId="1903397118" sldId="5004"/>
            <ac:spMk id="185" creationId="{EE26C301-1421-BFC9-DCD2-69A7CCAF6142}"/>
          </ac:spMkLst>
        </pc:spChg>
        <pc:spChg chg="mod">
          <ac:chgData name="Jacob, Karen (SPAC/PSPC) (elle-la / she-her)" userId="66e9cce0-e37b-4645-a907-f7690bd68dfb" providerId="ADAL" clId="{871AC57A-6E3B-4D85-BA02-8D6F5065EA89}" dt="2024-06-05T17:57:36.566" v="146"/>
          <ac:spMkLst>
            <pc:docMk/>
            <pc:sldMk cId="1903397118" sldId="5004"/>
            <ac:spMk id="186" creationId="{7131908F-6D78-19A4-2B53-48D91F8D0B81}"/>
          </ac:spMkLst>
        </pc:spChg>
        <pc:spChg chg="mod">
          <ac:chgData name="Jacob, Karen (SPAC/PSPC) (elle-la / she-her)" userId="66e9cce0-e37b-4645-a907-f7690bd68dfb" providerId="ADAL" clId="{871AC57A-6E3B-4D85-BA02-8D6F5065EA89}" dt="2024-06-05T17:57:36.566" v="146"/>
          <ac:spMkLst>
            <pc:docMk/>
            <pc:sldMk cId="1903397118" sldId="5004"/>
            <ac:spMk id="188" creationId="{28FC64A9-04F5-39CB-0A9E-1F9F830E1C0E}"/>
          </ac:spMkLst>
        </pc:spChg>
        <pc:spChg chg="mod">
          <ac:chgData name="Jacob, Karen (SPAC/PSPC) (elle-la / she-her)" userId="66e9cce0-e37b-4645-a907-f7690bd68dfb" providerId="ADAL" clId="{871AC57A-6E3B-4D85-BA02-8D6F5065EA89}" dt="2024-06-05T17:57:36.566" v="146"/>
          <ac:spMkLst>
            <pc:docMk/>
            <pc:sldMk cId="1903397118" sldId="5004"/>
            <ac:spMk id="190" creationId="{BCFF0F95-C8EB-6968-2A1E-70844EB64048}"/>
          </ac:spMkLst>
        </pc:spChg>
        <pc:spChg chg="mod">
          <ac:chgData name="Jacob, Karen (SPAC/PSPC) (elle-la / she-her)" userId="66e9cce0-e37b-4645-a907-f7690bd68dfb" providerId="ADAL" clId="{871AC57A-6E3B-4D85-BA02-8D6F5065EA89}" dt="2024-06-05T17:57:36.566" v="146"/>
          <ac:spMkLst>
            <pc:docMk/>
            <pc:sldMk cId="1903397118" sldId="5004"/>
            <ac:spMk id="191" creationId="{116394D7-B56C-A4AB-A65B-AD2AADB188CF}"/>
          </ac:spMkLst>
        </pc:spChg>
        <pc:spChg chg="mod">
          <ac:chgData name="Jacob, Karen (SPAC/PSPC) (elle-la / she-her)" userId="66e9cce0-e37b-4645-a907-f7690bd68dfb" providerId="ADAL" clId="{871AC57A-6E3B-4D85-BA02-8D6F5065EA89}" dt="2024-06-05T17:57:36.566" v="146"/>
          <ac:spMkLst>
            <pc:docMk/>
            <pc:sldMk cId="1903397118" sldId="5004"/>
            <ac:spMk id="192" creationId="{5137756C-0593-4917-049A-F51EB311C4B8}"/>
          </ac:spMkLst>
        </pc:spChg>
        <pc:spChg chg="mod">
          <ac:chgData name="Jacob, Karen (SPAC/PSPC) (elle-la / she-her)" userId="66e9cce0-e37b-4645-a907-f7690bd68dfb" providerId="ADAL" clId="{871AC57A-6E3B-4D85-BA02-8D6F5065EA89}" dt="2024-06-05T17:57:36.566" v="146"/>
          <ac:spMkLst>
            <pc:docMk/>
            <pc:sldMk cId="1903397118" sldId="5004"/>
            <ac:spMk id="193" creationId="{D01044A5-8215-1282-35C8-439B9022DB95}"/>
          </ac:spMkLst>
        </pc:spChg>
        <pc:spChg chg="mod">
          <ac:chgData name="Jacob, Karen (SPAC/PSPC) (elle-la / she-her)" userId="66e9cce0-e37b-4645-a907-f7690bd68dfb" providerId="ADAL" clId="{871AC57A-6E3B-4D85-BA02-8D6F5065EA89}" dt="2024-06-05T17:57:36.566" v="146"/>
          <ac:spMkLst>
            <pc:docMk/>
            <pc:sldMk cId="1903397118" sldId="5004"/>
            <ac:spMk id="194" creationId="{496B4B36-BEA8-07E4-C57A-447F9837AEC9}"/>
          </ac:spMkLst>
        </pc:spChg>
        <pc:spChg chg="mod">
          <ac:chgData name="Jacob, Karen (SPAC/PSPC) (elle-la / she-her)" userId="66e9cce0-e37b-4645-a907-f7690bd68dfb" providerId="ADAL" clId="{871AC57A-6E3B-4D85-BA02-8D6F5065EA89}" dt="2024-06-05T17:57:36.566" v="146"/>
          <ac:spMkLst>
            <pc:docMk/>
            <pc:sldMk cId="1903397118" sldId="5004"/>
            <ac:spMk id="195" creationId="{7FAA6CD0-C276-9747-6CFB-09092A8A29EE}"/>
          </ac:spMkLst>
        </pc:spChg>
        <pc:spChg chg="mod">
          <ac:chgData name="Jacob, Karen (SPAC/PSPC) (elle-la / she-her)" userId="66e9cce0-e37b-4645-a907-f7690bd68dfb" providerId="ADAL" clId="{871AC57A-6E3B-4D85-BA02-8D6F5065EA89}" dt="2024-06-05T17:57:36.566" v="146"/>
          <ac:spMkLst>
            <pc:docMk/>
            <pc:sldMk cId="1903397118" sldId="5004"/>
            <ac:spMk id="196" creationId="{E48157ED-1C5F-CD99-91BB-80AD63BB2F47}"/>
          </ac:spMkLst>
        </pc:spChg>
        <pc:spChg chg="mod">
          <ac:chgData name="Jacob, Karen (SPAC/PSPC) (elle-la / she-her)" userId="66e9cce0-e37b-4645-a907-f7690bd68dfb" providerId="ADAL" clId="{871AC57A-6E3B-4D85-BA02-8D6F5065EA89}" dt="2024-06-05T17:57:36.566" v="146"/>
          <ac:spMkLst>
            <pc:docMk/>
            <pc:sldMk cId="1903397118" sldId="5004"/>
            <ac:spMk id="197" creationId="{ACA82F8D-9A7F-1F6B-FE36-8E6A97CA10CB}"/>
          </ac:spMkLst>
        </pc:spChg>
        <pc:spChg chg="mod">
          <ac:chgData name="Jacob, Karen (SPAC/PSPC) (elle-la / she-her)" userId="66e9cce0-e37b-4645-a907-f7690bd68dfb" providerId="ADAL" clId="{871AC57A-6E3B-4D85-BA02-8D6F5065EA89}" dt="2024-06-05T17:57:36.566" v="146"/>
          <ac:spMkLst>
            <pc:docMk/>
            <pc:sldMk cId="1903397118" sldId="5004"/>
            <ac:spMk id="198" creationId="{72FDFDBD-F928-F189-C4C4-30F4F61F5965}"/>
          </ac:spMkLst>
        </pc:spChg>
        <pc:spChg chg="mod">
          <ac:chgData name="Jacob, Karen (SPAC/PSPC) (elle-la / she-her)" userId="66e9cce0-e37b-4645-a907-f7690bd68dfb" providerId="ADAL" clId="{871AC57A-6E3B-4D85-BA02-8D6F5065EA89}" dt="2024-06-05T17:57:36.566" v="146"/>
          <ac:spMkLst>
            <pc:docMk/>
            <pc:sldMk cId="1903397118" sldId="5004"/>
            <ac:spMk id="199" creationId="{45A7637F-5A9B-C9CF-3895-FDED23B92646}"/>
          </ac:spMkLst>
        </pc:spChg>
        <pc:spChg chg="mod">
          <ac:chgData name="Jacob, Karen (SPAC/PSPC) (elle-la / she-her)" userId="66e9cce0-e37b-4645-a907-f7690bd68dfb" providerId="ADAL" clId="{871AC57A-6E3B-4D85-BA02-8D6F5065EA89}" dt="2024-06-05T17:57:36.566" v="146"/>
          <ac:spMkLst>
            <pc:docMk/>
            <pc:sldMk cId="1903397118" sldId="5004"/>
            <ac:spMk id="200" creationId="{9574C423-922B-E834-944C-72F26D86BA93}"/>
          </ac:spMkLst>
        </pc:spChg>
        <pc:spChg chg="mod">
          <ac:chgData name="Jacob, Karen (SPAC/PSPC) (elle-la / she-her)" userId="66e9cce0-e37b-4645-a907-f7690bd68dfb" providerId="ADAL" clId="{871AC57A-6E3B-4D85-BA02-8D6F5065EA89}" dt="2024-06-05T17:57:36.566" v="146"/>
          <ac:spMkLst>
            <pc:docMk/>
            <pc:sldMk cId="1903397118" sldId="5004"/>
            <ac:spMk id="201" creationId="{511774EC-EB4B-C365-213D-3F7EBD47A0A0}"/>
          </ac:spMkLst>
        </pc:spChg>
        <pc:spChg chg="mod">
          <ac:chgData name="Jacob, Karen (SPAC/PSPC) (elle-la / she-her)" userId="66e9cce0-e37b-4645-a907-f7690bd68dfb" providerId="ADAL" clId="{871AC57A-6E3B-4D85-BA02-8D6F5065EA89}" dt="2024-06-05T17:57:36.566" v="146"/>
          <ac:spMkLst>
            <pc:docMk/>
            <pc:sldMk cId="1903397118" sldId="5004"/>
            <ac:spMk id="202" creationId="{81E8EE4E-1D2E-AEE4-4E9A-098AE940E95A}"/>
          </ac:spMkLst>
        </pc:spChg>
        <pc:spChg chg="mod">
          <ac:chgData name="Jacob, Karen (SPAC/PSPC) (elle-la / she-her)" userId="66e9cce0-e37b-4645-a907-f7690bd68dfb" providerId="ADAL" clId="{871AC57A-6E3B-4D85-BA02-8D6F5065EA89}" dt="2024-06-05T17:57:36.566" v="146"/>
          <ac:spMkLst>
            <pc:docMk/>
            <pc:sldMk cId="1903397118" sldId="5004"/>
            <ac:spMk id="203" creationId="{4DA3DFA0-5D3E-C187-C2EF-B510C5A31DF1}"/>
          </ac:spMkLst>
        </pc:spChg>
        <pc:spChg chg="mod">
          <ac:chgData name="Jacob, Karen (SPAC/PSPC) (elle-la / she-her)" userId="66e9cce0-e37b-4645-a907-f7690bd68dfb" providerId="ADAL" clId="{871AC57A-6E3B-4D85-BA02-8D6F5065EA89}" dt="2024-06-05T17:57:36.566" v="146"/>
          <ac:spMkLst>
            <pc:docMk/>
            <pc:sldMk cId="1903397118" sldId="5004"/>
            <ac:spMk id="204" creationId="{D06DED7F-CFAC-45F4-9C9D-C42FBB5A32F3}"/>
          </ac:spMkLst>
        </pc:spChg>
        <pc:spChg chg="mod">
          <ac:chgData name="Jacob, Karen (SPAC/PSPC) (elle-la / she-her)" userId="66e9cce0-e37b-4645-a907-f7690bd68dfb" providerId="ADAL" clId="{871AC57A-6E3B-4D85-BA02-8D6F5065EA89}" dt="2024-06-05T17:57:36.566" v="146"/>
          <ac:spMkLst>
            <pc:docMk/>
            <pc:sldMk cId="1903397118" sldId="5004"/>
            <ac:spMk id="205" creationId="{0479A56B-720E-2969-3A5C-55E41B1C847D}"/>
          </ac:spMkLst>
        </pc:spChg>
        <pc:spChg chg="mod">
          <ac:chgData name="Jacob, Karen (SPAC/PSPC) (elle-la / she-her)" userId="66e9cce0-e37b-4645-a907-f7690bd68dfb" providerId="ADAL" clId="{871AC57A-6E3B-4D85-BA02-8D6F5065EA89}" dt="2024-06-05T17:57:36.566" v="146"/>
          <ac:spMkLst>
            <pc:docMk/>
            <pc:sldMk cId="1903397118" sldId="5004"/>
            <ac:spMk id="206" creationId="{EB69AE57-915C-2857-B5A2-2D99EEFAA2A8}"/>
          </ac:spMkLst>
        </pc:spChg>
        <pc:spChg chg="mod">
          <ac:chgData name="Jacob, Karen (SPAC/PSPC) (elle-la / she-her)" userId="66e9cce0-e37b-4645-a907-f7690bd68dfb" providerId="ADAL" clId="{871AC57A-6E3B-4D85-BA02-8D6F5065EA89}" dt="2024-06-05T17:57:36.566" v="146"/>
          <ac:spMkLst>
            <pc:docMk/>
            <pc:sldMk cId="1903397118" sldId="5004"/>
            <ac:spMk id="207" creationId="{6746BF7C-320F-F8E6-634E-A2C1B8018A58}"/>
          </ac:spMkLst>
        </pc:spChg>
        <pc:spChg chg="mod">
          <ac:chgData name="Jacob, Karen (SPAC/PSPC) (elle-la / she-her)" userId="66e9cce0-e37b-4645-a907-f7690bd68dfb" providerId="ADAL" clId="{871AC57A-6E3B-4D85-BA02-8D6F5065EA89}" dt="2024-06-05T17:57:36.566" v="146"/>
          <ac:spMkLst>
            <pc:docMk/>
            <pc:sldMk cId="1903397118" sldId="5004"/>
            <ac:spMk id="208" creationId="{11A87170-0810-A434-BE17-B4F48AC51419}"/>
          </ac:spMkLst>
        </pc:spChg>
        <pc:spChg chg="mod">
          <ac:chgData name="Jacob, Karen (SPAC/PSPC) (elle-la / she-her)" userId="66e9cce0-e37b-4645-a907-f7690bd68dfb" providerId="ADAL" clId="{871AC57A-6E3B-4D85-BA02-8D6F5065EA89}" dt="2024-06-05T17:57:36.566" v="146"/>
          <ac:spMkLst>
            <pc:docMk/>
            <pc:sldMk cId="1903397118" sldId="5004"/>
            <ac:spMk id="209" creationId="{7CF28395-3297-379E-4331-5EB077F9739B}"/>
          </ac:spMkLst>
        </pc:spChg>
        <pc:spChg chg="mod">
          <ac:chgData name="Jacob, Karen (SPAC/PSPC) (elle-la / she-her)" userId="66e9cce0-e37b-4645-a907-f7690bd68dfb" providerId="ADAL" clId="{871AC57A-6E3B-4D85-BA02-8D6F5065EA89}" dt="2024-06-05T17:57:36.566" v="146"/>
          <ac:spMkLst>
            <pc:docMk/>
            <pc:sldMk cId="1903397118" sldId="5004"/>
            <ac:spMk id="210" creationId="{C944714E-C0D8-68E5-0ABA-386158F19EC0}"/>
          </ac:spMkLst>
        </pc:spChg>
        <pc:spChg chg="mod">
          <ac:chgData name="Jacob, Karen (SPAC/PSPC) (elle-la / she-her)" userId="66e9cce0-e37b-4645-a907-f7690bd68dfb" providerId="ADAL" clId="{871AC57A-6E3B-4D85-BA02-8D6F5065EA89}" dt="2024-06-05T17:57:36.566" v="146"/>
          <ac:spMkLst>
            <pc:docMk/>
            <pc:sldMk cId="1903397118" sldId="5004"/>
            <ac:spMk id="211" creationId="{A8B4FE8D-9EC7-5DDE-783A-7DA9592F31BB}"/>
          </ac:spMkLst>
        </pc:spChg>
        <pc:spChg chg="mod">
          <ac:chgData name="Jacob, Karen (SPAC/PSPC) (elle-la / she-her)" userId="66e9cce0-e37b-4645-a907-f7690bd68dfb" providerId="ADAL" clId="{871AC57A-6E3B-4D85-BA02-8D6F5065EA89}" dt="2024-06-05T17:57:36.566" v="146"/>
          <ac:spMkLst>
            <pc:docMk/>
            <pc:sldMk cId="1903397118" sldId="5004"/>
            <ac:spMk id="212" creationId="{BCB83B0D-9E7E-CE30-550F-F64E0531EB1D}"/>
          </ac:spMkLst>
        </pc:spChg>
        <pc:spChg chg="mod">
          <ac:chgData name="Jacob, Karen (SPAC/PSPC) (elle-la / she-her)" userId="66e9cce0-e37b-4645-a907-f7690bd68dfb" providerId="ADAL" clId="{871AC57A-6E3B-4D85-BA02-8D6F5065EA89}" dt="2024-06-05T17:57:36.566" v="146"/>
          <ac:spMkLst>
            <pc:docMk/>
            <pc:sldMk cId="1903397118" sldId="5004"/>
            <ac:spMk id="213" creationId="{B32A0301-ABC4-88E5-7AE3-E750724940AA}"/>
          </ac:spMkLst>
        </pc:spChg>
        <pc:spChg chg="mod">
          <ac:chgData name="Jacob, Karen (SPAC/PSPC) (elle-la / she-her)" userId="66e9cce0-e37b-4645-a907-f7690bd68dfb" providerId="ADAL" clId="{871AC57A-6E3B-4D85-BA02-8D6F5065EA89}" dt="2024-06-05T17:57:36.566" v="146"/>
          <ac:spMkLst>
            <pc:docMk/>
            <pc:sldMk cId="1903397118" sldId="5004"/>
            <ac:spMk id="214" creationId="{6E11AE8F-D3B9-6256-58E1-8434807ED11D}"/>
          </ac:spMkLst>
        </pc:spChg>
        <pc:spChg chg="mod">
          <ac:chgData name="Jacob, Karen (SPAC/PSPC) (elle-la / she-her)" userId="66e9cce0-e37b-4645-a907-f7690bd68dfb" providerId="ADAL" clId="{871AC57A-6E3B-4D85-BA02-8D6F5065EA89}" dt="2024-06-05T17:57:36.566" v="146"/>
          <ac:spMkLst>
            <pc:docMk/>
            <pc:sldMk cId="1903397118" sldId="5004"/>
            <ac:spMk id="215" creationId="{5D15B532-17B2-925A-0BEF-8D6F87510321}"/>
          </ac:spMkLst>
        </pc:spChg>
        <pc:spChg chg="mod">
          <ac:chgData name="Jacob, Karen (SPAC/PSPC) (elle-la / she-her)" userId="66e9cce0-e37b-4645-a907-f7690bd68dfb" providerId="ADAL" clId="{871AC57A-6E3B-4D85-BA02-8D6F5065EA89}" dt="2024-06-05T17:57:36.566" v="146"/>
          <ac:spMkLst>
            <pc:docMk/>
            <pc:sldMk cId="1903397118" sldId="5004"/>
            <ac:spMk id="216" creationId="{C697ACE2-EB21-5199-2283-B92D5A067F84}"/>
          </ac:spMkLst>
        </pc:spChg>
        <pc:spChg chg="mod">
          <ac:chgData name="Jacob, Karen (SPAC/PSPC) (elle-la / she-her)" userId="66e9cce0-e37b-4645-a907-f7690bd68dfb" providerId="ADAL" clId="{871AC57A-6E3B-4D85-BA02-8D6F5065EA89}" dt="2024-06-05T17:57:36.566" v="146"/>
          <ac:spMkLst>
            <pc:docMk/>
            <pc:sldMk cId="1903397118" sldId="5004"/>
            <ac:spMk id="217" creationId="{81EE365E-25FD-0D74-BA43-4D83913C1A16}"/>
          </ac:spMkLst>
        </pc:spChg>
        <pc:spChg chg="mod">
          <ac:chgData name="Jacob, Karen (SPAC/PSPC) (elle-la / she-her)" userId="66e9cce0-e37b-4645-a907-f7690bd68dfb" providerId="ADAL" clId="{871AC57A-6E3B-4D85-BA02-8D6F5065EA89}" dt="2024-06-05T17:57:36.566" v="146"/>
          <ac:spMkLst>
            <pc:docMk/>
            <pc:sldMk cId="1903397118" sldId="5004"/>
            <ac:spMk id="218" creationId="{338BD2A5-9923-3CDF-4A79-1457A1B8F951}"/>
          </ac:spMkLst>
        </pc:spChg>
        <pc:spChg chg="mod">
          <ac:chgData name="Jacob, Karen (SPAC/PSPC) (elle-la / she-her)" userId="66e9cce0-e37b-4645-a907-f7690bd68dfb" providerId="ADAL" clId="{871AC57A-6E3B-4D85-BA02-8D6F5065EA89}" dt="2024-06-05T17:57:36.566" v="146"/>
          <ac:spMkLst>
            <pc:docMk/>
            <pc:sldMk cId="1903397118" sldId="5004"/>
            <ac:spMk id="219" creationId="{25955621-67B4-DA55-513A-CF5F66C4BE28}"/>
          </ac:spMkLst>
        </pc:spChg>
        <pc:spChg chg="mod">
          <ac:chgData name="Jacob, Karen (SPAC/PSPC) (elle-la / she-her)" userId="66e9cce0-e37b-4645-a907-f7690bd68dfb" providerId="ADAL" clId="{871AC57A-6E3B-4D85-BA02-8D6F5065EA89}" dt="2024-06-05T17:57:36.566" v="146"/>
          <ac:spMkLst>
            <pc:docMk/>
            <pc:sldMk cId="1903397118" sldId="5004"/>
            <ac:spMk id="220" creationId="{2DDEB810-C06A-CD1C-C173-582B532813CA}"/>
          </ac:spMkLst>
        </pc:spChg>
        <pc:spChg chg="mod">
          <ac:chgData name="Jacob, Karen (SPAC/PSPC) (elle-la / she-her)" userId="66e9cce0-e37b-4645-a907-f7690bd68dfb" providerId="ADAL" clId="{871AC57A-6E3B-4D85-BA02-8D6F5065EA89}" dt="2024-06-05T17:57:36.566" v="146"/>
          <ac:spMkLst>
            <pc:docMk/>
            <pc:sldMk cId="1903397118" sldId="5004"/>
            <ac:spMk id="221" creationId="{729A8228-C4FC-FC70-0833-CB47041C66B2}"/>
          </ac:spMkLst>
        </pc:spChg>
        <pc:spChg chg="mod">
          <ac:chgData name="Jacob, Karen (SPAC/PSPC) (elle-la / she-her)" userId="66e9cce0-e37b-4645-a907-f7690bd68dfb" providerId="ADAL" clId="{871AC57A-6E3B-4D85-BA02-8D6F5065EA89}" dt="2024-06-05T17:57:36.566" v="146"/>
          <ac:spMkLst>
            <pc:docMk/>
            <pc:sldMk cId="1903397118" sldId="5004"/>
            <ac:spMk id="222" creationId="{B4900FB7-A806-3DCA-4A3F-8F5C42643C1B}"/>
          </ac:spMkLst>
        </pc:spChg>
        <pc:spChg chg="mod">
          <ac:chgData name="Jacob, Karen (SPAC/PSPC) (elle-la / she-her)" userId="66e9cce0-e37b-4645-a907-f7690bd68dfb" providerId="ADAL" clId="{871AC57A-6E3B-4D85-BA02-8D6F5065EA89}" dt="2024-06-05T17:57:36.566" v="146"/>
          <ac:spMkLst>
            <pc:docMk/>
            <pc:sldMk cId="1903397118" sldId="5004"/>
            <ac:spMk id="223" creationId="{84E0FCE5-8C2B-11FE-8F6F-EEADAA49FDC7}"/>
          </ac:spMkLst>
        </pc:spChg>
        <pc:spChg chg="mod">
          <ac:chgData name="Jacob, Karen (SPAC/PSPC) (elle-la / she-her)" userId="66e9cce0-e37b-4645-a907-f7690bd68dfb" providerId="ADAL" clId="{871AC57A-6E3B-4D85-BA02-8D6F5065EA89}" dt="2024-06-05T17:57:36.566" v="146"/>
          <ac:spMkLst>
            <pc:docMk/>
            <pc:sldMk cId="1903397118" sldId="5004"/>
            <ac:spMk id="224" creationId="{3D0585BB-4507-23AD-DCFD-7A392400407E}"/>
          </ac:spMkLst>
        </pc:spChg>
        <pc:spChg chg="mod">
          <ac:chgData name="Jacob, Karen (SPAC/PSPC) (elle-la / she-her)" userId="66e9cce0-e37b-4645-a907-f7690bd68dfb" providerId="ADAL" clId="{871AC57A-6E3B-4D85-BA02-8D6F5065EA89}" dt="2024-06-05T17:57:36.566" v="146"/>
          <ac:spMkLst>
            <pc:docMk/>
            <pc:sldMk cId="1903397118" sldId="5004"/>
            <ac:spMk id="225" creationId="{9054FA7E-0E64-F5B3-976D-C007EC1A33DC}"/>
          </ac:spMkLst>
        </pc:spChg>
        <pc:spChg chg="mod">
          <ac:chgData name="Jacob, Karen (SPAC/PSPC) (elle-la / she-her)" userId="66e9cce0-e37b-4645-a907-f7690bd68dfb" providerId="ADAL" clId="{871AC57A-6E3B-4D85-BA02-8D6F5065EA89}" dt="2024-06-05T17:57:36.566" v="146"/>
          <ac:spMkLst>
            <pc:docMk/>
            <pc:sldMk cId="1903397118" sldId="5004"/>
            <ac:spMk id="226" creationId="{253B7713-F553-BB74-85AD-CF8F156ED88F}"/>
          </ac:spMkLst>
        </pc:spChg>
        <pc:spChg chg="mod">
          <ac:chgData name="Jacob, Karen (SPAC/PSPC) (elle-la / she-her)" userId="66e9cce0-e37b-4645-a907-f7690bd68dfb" providerId="ADAL" clId="{871AC57A-6E3B-4D85-BA02-8D6F5065EA89}" dt="2024-06-05T17:57:36.566" v="146"/>
          <ac:spMkLst>
            <pc:docMk/>
            <pc:sldMk cId="1903397118" sldId="5004"/>
            <ac:spMk id="227" creationId="{6592E00A-B9C0-A16D-C1FF-C9F648DD632C}"/>
          </ac:spMkLst>
        </pc:spChg>
        <pc:spChg chg="mod">
          <ac:chgData name="Jacob, Karen (SPAC/PSPC) (elle-la / she-her)" userId="66e9cce0-e37b-4645-a907-f7690bd68dfb" providerId="ADAL" clId="{871AC57A-6E3B-4D85-BA02-8D6F5065EA89}" dt="2024-06-05T17:57:36.566" v="146"/>
          <ac:spMkLst>
            <pc:docMk/>
            <pc:sldMk cId="1903397118" sldId="5004"/>
            <ac:spMk id="228" creationId="{F72913B9-01CC-302A-C4F2-673178CB87BC}"/>
          </ac:spMkLst>
        </pc:spChg>
        <pc:spChg chg="mod">
          <ac:chgData name="Jacob, Karen (SPAC/PSPC) (elle-la / she-her)" userId="66e9cce0-e37b-4645-a907-f7690bd68dfb" providerId="ADAL" clId="{871AC57A-6E3B-4D85-BA02-8D6F5065EA89}" dt="2024-06-05T17:57:36.566" v="146"/>
          <ac:spMkLst>
            <pc:docMk/>
            <pc:sldMk cId="1903397118" sldId="5004"/>
            <ac:spMk id="229" creationId="{BA561EA7-EFEE-46B6-6EC6-5D8173A65A10}"/>
          </ac:spMkLst>
        </pc:spChg>
        <pc:spChg chg="mod">
          <ac:chgData name="Jacob, Karen (SPAC/PSPC) (elle-la / she-her)" userId="66e9cce0-e37b-4645-a907-f7690bd68dfb" providerId="ADAL" clId="{871AC57A-6E3B-4D85-BA02-8D6F5065EA89}" dt="2024-06-05T17:57:36.566" v="146"/>
          <ac:spMkLst>
            <pc:docMk/>
            <pc:sldMk cId="1903397118" sldId="5004"/>
            <ac:spMk id="231" creationId="{46886C11-D078-2740-7191-0CC49110ACD7}"/>
          </ac:spMkLst>
        </pc:spChg>
        <pc:spChg chg="mod">
          <ac:chgData name="Jacob, Karen (SPAC/PSPC) (elle-la / she-her)" userId="66e9cce0-e37b-4645-a907-f7690bd68dfb" providerId="ADAL" clId="{871AC57A-6E3B-4D85-BA02-8D6F5065EA89}" dt="2024-06-05T17:57:36.566" v="146"/>
          <ac:spMkLst>
            <pc:docMk/>
            <pc:sldMk cId="1903397118" sldId="5004"/>
            <ac:spMk id="233" creationId="{998A78C6-3390-5690-5D0D-AC82154497BC}"/>
          </ac:spMkLst>
        </pc:spChg>
        <pc:spChg chg="mod">
          <ac:chgData name="Jacob, Karen (SPAC/PSPC) (elle-la / she-her)" userId="66e9cce0-e37b-4645-a907-f7690bd68dfb" providerId="ADAL" clId="{871AC57A-6E3B-4D85-BA02-8D6F5065EA89}" dt="2024-06-05T17:57:36.566" v="146"/>
          <ac:spMkLst>
            <pc:docMk/>
            <pc:sldMk cId="1903397118" sldId="5004"/>
            <ac:spMk id="234" creationId="{D8FDB64A-4005-A7DB-0A45-99B3EBCE29A3}"/>
          </ac:spMkLst>
        </pc:spChg>
        <pc:spChg chg="mod">
          <ac:chgData name="Jacob, Karen (SPAC/PSPC) (elle-la / she-her)" userId="66e9cce0-e37b-4645-a907-f7690bd68dfb" providerId="ADAL" clId="{871AC57A-6E3B-4D85-BA02-8D6F5065EA89}" dt="2024-06-05T17:57:36.566" v="146"/>
          <ac:spMkLst>
            <pc:docMk/>
            <pc:sldMk cId="1903397118" sldId="5004"/>
            <ac:spMk id="235" creationId="{A9D009A7-BC0E-2CC0-EF5E-9055E611F07B}"/>
          </ac:spMkLst>
        </pc:spChg>
        <pc:spChg chg="mod">
          <ac:chgData name="Jacob, Karen (SPAC/PSPC) (elle-la / she-her)" userId="66e9cce0-e37b-4645-a907-f7690bd68dfb" providerId="ADAL" clId="{871AC57A-6E3B-4D85-BA02-8D6F5065EA89}" dt="2024-06-05T17:57:36.566" v="146"/>
          <ac:spMkLst>
            <pc:docMk/>
            <pc:sldMk cId="1903397118" sldId="5004"/>
            <ac:spMk id="236" creationId="{F54824DC-D23C-9F60-6AD7-CF596193C069}"/>
          </ac:spMkLst>
        </pc:spChg>
        <pc:spChg chg="mod">
          <ac:chgData name="Jacob, Karen (SPAC/PSPC) (elle-la / she-her)" userId="66e9cce0-e37b-4645-a907-f7690bd68dfb" providerId="ADAL" clId="{871AC57A-6E3B-4D85-BA02-8D6F5065EA89}" dt="2024-06-05T17:57:36.566" v="146"/>
          <ac:spMkLst>
            <pc:docMk/>
            <pc:sldMk cId="1903397118" sldId="5004"/>
            <ac:spMk id="237" creationId="{7105EC09-3E8C-D532-B527-0B3B5CB91BDC}"/>
          </ac:spMkLst>
        </pc:spChg>
        <pc:spChg chg="mod">
          <ac:chgData name="Jacob, Karen (SPAC/PSPC) (elle-la / she-her)" userId="66e9cce0-e37b-4645-a907-f7690bd68dfb" providerId="ADAL" clId="{871AC57A-6E3B-4D85-BA02-8D6F5065EA89}" dt="2024-06-05T17:57:36.566" v="146"/>
          <ac:spMkLst>
            <pc:docMk/>
            <pc:sldMk cId="1903397118" sldId="5004"/>
            <ac:spMk id="238" creationId="{EE6F7566-9821-FB79-7642-A1B0946082F3}"/>
          </ac:spMkLst>
        </pc:spChg>
        <pc:spChg chg="mod">
          <ac:chgData name="Jacob, Karen (SPAC/PSPC) (elle-la / she-her)" userId="66e9cce0-e37b-4645-a907-f7690bd68dfb" providerId="ADAL" clId="{871AC57A-6E3B-4D85-BA02-8D6F5065EA89}" dt="2024-06-05T17:57:36.566" v="146"/>
          <ac:spMkLst>
            <pc:docMk/>
            <pc:sldMk cId="1903397118" sldId="5004"/>
            <ac:spMk id="239" creationId="{6B985762-DA35-86C8-7537-FD718A242BF2}"/>
          </ac:spMkLst>
        </pc:spChg>
        <pc:spChg chg="mod">
          <ac:chgData name="Jacob, Karen (SPAC/PSPC) (elle-la / she-her)" userId="66e9cce0-e37b-4645-a907-f7690bd68dfb" providerId="ADAL" clId="{871AC57A-6E3B-4D85-BA02-8D6F5065EA89}" dt="2024-06-05T17:57:36.566" v="146"/>
          <ac:spMkLst>
            <pc:docMk/>
            <pc:sldMk cId="1903397118" sldId="5004"/>
            <ac:spMk id="240" creationId="{345CF1A9-E083-82B4-3321-380A30B138AB}"/>
          </ac:spMkLst>
        </pc:spChg>
        <pc:spChg chg="mod">
          <ac:chgData name="Jacob, Karen (SPAC/PSPC) (elle-la / she-her)" userId="66e9cce0-e37b-4645-a907-f7690bd68dfb" providerId="ADAL" clId="{871AC57A-6E3B-4D85-BA02-8D6F5065EA89}" dt="2024-06-05T17:57:36.566" v="146"/>
          <ac:spMkLst>
            <pc:docMk/>
            <pc:sldMk cId="1903397118" sldId="5004"/>
            <ac:spMk id="241" creationId="{E5C18C4F-BBA3-891A-C4B5-2D54F2EB5E6B}"/>
          </ac:spMkLst>
        </pc:spChg>
        <pc:spChg chg="mod">
          <ac:chgData name="Jacob, Karen (SPAC/PSPC) (elle-la / she-her)" userId="66e9cce0-e37b-4645-a907-f7690bd68dfb" providerId="ADAL" clId="{871AC57A-6E3B-4D85-BA02-8D6F5065EA89}" dt="2024-06-05T17:57:36.566" v="146"/>
          <ac:spMkLst>
            <pc:docMk/>
            <pc:sldMk cId="1903397118" sldId="5004"/>
            <ac:spMk id="242" creationId="{9E6F6CBD-BF5B-2115-BD8E-8C5D4EF2B464}"/>
          </ac:spMkLst>
        </pc:spChg>
        <pc:spChg chg="mod">
          <ac:chgData name="Jacob, Karen (SPAC/PSPC) (elle-la / she-her)" userId="66e9cce0-e37b-4645-a907-f7690bd68dfb" providerId="ADAL" clId="{871AC57A-6E3B-4D85-BA02-8D6F5065EA89}" dt="2024-06-05T17:57:36.566" v="146"/>
          <ac:spMkLst>
            <pc:docMk/>
            <pc:sldMk cId="1903397118" sldId="5004"/>
            <ac:spMk id="243" creationId="{08052811-0262-CDCA-6140-29646A5B42EF}"/>
          </ac:spMkLst>
        </pc:spChg>
        <pc:spChg chg="mod">
          <ac:chgData name="Jacob, Karen (SPAC/PSPC) (elle-la / she-her)" userId="66e9cce0-e37b-4645-a907-f7690bd68dfb" providerId="ADAL" clId="{871AC57A-6E3B-4D85-BA02-8D6F5065EA89}" dt="2024-06-05T17:57:36.566" v="146"/>
          <ac:spMkLst>
            <pc:docMk/>
            <pc:sldMk cId="1903397118" sldId="5004"/>
            <ac:spMk id="244" creationId="{4148BCA5-A63E-4B70-931A-AE84E9890A4C}"/>
          </ac:spMkLst>
        </pc:spChg>
        <pc:spChg chg="mod">
          <ac:chgData name="Jacob, Karen (SPAC/PSPC) (elle-la / she-her)" userId="66e9cce0-e37b-4645-a907-f7690bd68dfb" providerId="ADAL" clId="{871AC57A-6E3B-4D85-BA02-8D6F5065EA89}" dt="2024-06-05T17:57:36.566" v="146"/>
          <ac:spMkLst>
            <pc:docMk/>
            <pc:sldMk cId="1903397118" sldId="5004"/>
            <ac:spMk id="245" creationId="{0D5AAF7B-4382-1492-E65C-E5A1F89E6143}"/>
          </ac:spMkLst>
        </pc:spChg>
        <pc:spChg chg="mod">
          <ac:chgData name="Jacob, Karen (SPAC/PSPC) (elle-la / she-her)" userId="66e9cce0-e37b-4645-a907-f7690bd68dfb" providerId="ADAL" clId="{871AC57A-6E3B-4D85-BA02-8D6F5065EA89}" dt="2024-06-05T17:57:36.566" v="146"/>
          <ac:spMkLst>
            <pc:docMk/>
            <pc:sldMk cId="1903397118" sldId="5004"/>
            <ac:spMk id="246" creationId="{DDC153DC-B407-5EDE-E1EF-A6B68540B529}"/>
          </ac:spMkLst>
        </pc:spChg>
        <pc:spChg chg="mod">
          <ac:chgData name="Jacob, Karen (SPAC/PSPC) (elle-la / she-her)" userId="66e9cce0-e37b-4645-a907-f7690bd68dfb" providerId="ADAL" clId="{871AC57A-6E3B-4D85-BA02-8D6F5065EA89}" dt="2024-06-05T17:57:36.566" v="146"/>
          <ac:spMkLst>
            <pc:docMk/>
            <pc:sldMk cId="1903397118" sldId="5004"/>
            <ac:spMk id="247" creationId="{D0475F2F-4DBB-00E0-84AE-83184F2CC953}"/>
          </ac:spMkLst>
        </pc:spChg>
        <pc:spChg chg="mod">
          <ac:chgData name="Jacob, Karen (SPAC/PSPC) (elle-la / she-her)" userId="66e9cce0-e37b-4645-a907-f7690bd68dfb" providerId="ADAL" clId="{871AC57A-6E3B-4D85-BA02-8D6F5065EA89}" dt="2024-06-05T17:57:36.566" v="146"/>
          <ac:spMkLst>
            <pc:docMk/>
            <pc:sldMk cId="1903397118" sldId="5004"/>
            <ac:spMk id="248" creationId="{A9A4933E-C714-51C6-6D2A-AA2F8050A283}"/>
          </ac:spMkLst>
        </pc:spChg>
        <pc:spChg chg="mod">
          <ac:chgData name="Jacob, Karen (SPAC/PSPC) (elle-la / she-her)" userId="66e9cce0-e37b-4645-a907-f7690bd68dfb" providerId="ADAL" clId="{871AC57A-6E3B-4D85-BA02-8D6F5065EA89}" dt="2024-06-05T17:57:36.566" v="146"/>
          <ac:spMkLst>
            <pc:docMk/>
            <pc:sldMk cId="1903397118" sldId="5004"/>
            <ac:spMk id="249" creationId="{D39055DD-A693-7E8E-59F8-42D1B3D9A4C6}"/>
          </ac:spMkLst>
        </pc:spChg>
        <pc:spChg chg="mod">
          <ac:chgData name="Jacob, Karen (SPAC/PSPC) (elle-la / she-her)" userId="66e9cce0-e37b-4645-a907-f7690bd68dfb" providerId="ADAL" clId="{871AC57A-6E3B-4D85-BA02-8D6F5065EA89}" dt="2024-06-05T17:57:36.566" v="146"/>
          <ac:spMkLst>
            <pc:docMk/>
            <pc:sldMk cId="1903397118" sldId="5004"/>
            <ac:spMk id="250" creationId="{C14ABFC3-A737-25F1-5FF8-EF2EDB4FC181}"/>
          </ac:spMkLst>
        </pc:spChg>
        <pc:spChg chg="mod">
          <ac:chgData name="Jacob, Karen (SPAC/PSPC) (elle-la / she-her)" userId="66e9cce0-e37b-4645-a907-f7690bd68dfb" providerId="ADAL" clId="{871AC57A-6E3B-4D85-BA02-8D6F5065EA89}" dt="2024-06-05T17:57:36.566" v="146"/>
          <ac:spMkLst>
            <pc:docMk/>
            <pc:sldMk cId="1903397118" sldId="5004"/>
            <ac:spMk id="251" creationId="{522FBB9E-9B4C-2FFF-208A-183C1A946DC4}"/>
          </ac:spMkLst>
        </pc:spChg>
        <pc:spChg chg="mod">
          <ac:chgData name="Jacob, Karen (SPAC/PSPC) (elle-la / she-her)" userId="66e9cce0-e37b-4645-a907-f7690bd68dfb" providerId="ADAL" clId="{871AC57A-6E3B-4D85-BA02-8D6F5065EA89}" dt="2024-06-05T17:57:36.566" v="146"/>
          <ac:spMkLst>
            <pc:docMk/>
            <pc:sldMk cId="1903397118" sldId="5004"/>
            <ac:spMk id="252" creationId="{389EBAF4-287E-DFBB-5EE3-1609809C44D6}"/>
          </ac:spMkLst>
        </pc:spChg>
        <pc:spChg chg="mod">
          <ac:chgData name="Jacob, Karen (SPAC/PSPC) (elle-la / she-her)" userId="66e9cce0-e37b-4645-a907-f7690bd68dfb" providerId="ADAL" clId="{871AC57A-6E3B-4D85-BA02-8D6F5065EA89}" dt="2024-06-05T17:57:36.566" v="146"/>
          <ac:spMkLst>
            <pc:docMk/>
            <pc:sldMk cId="1903397118" sldId="5004"/>
            <ac:spMk id="253" creationId="{A9BE5517-497D-5A2E-EF37-E220B4FB1D4F}"/>
          </ac:spMkLst>
        </pc:spChg>
        <pc:spChg chg="mod">
          <ac:chgData name="Jacob, Karen (SPAC/PSPC) (elle-la / she-her)" userId="66e9cce0-e37b-4645-a907-f7690bd68dfb" providerId="ADAL" clId="{871AC57A-6E3B-4D85-BA02-8D6F5065EA89}" dt="2024-06-05T17:57:36.566" v="146"/>
          <ac:spMkLst>
            <pc:docMk/>
            <pc:sldMk cId="1903397118" sldId="5004"/>
            <ac:spMk id="254" creationId="{B6B4FAE0-D41B-022F-AFFE-51AE758A0452}"/>
          </ac:spMkLst>
        </pc:spChg>
        <pc:spChg chg="mod">
          <ac:chgData name="Jacob, Karen (SPAC/PSPC) (elle-la / she-her)" userId="66e9cce0-e37b-4645-a907-f7690bd68dfb" providerId="ADAL" clId="{871AC57A-6E3B-4D85-BA02-8D6F5065EA89}" dt="2024-06-05T17:57:36.566" v="146"/>
          <ac:spMkLst>
            <pc:docMk/>
            <pc:sldMk cId="1903397118" sldId="5004"/>
            <ac:spMk id="255" creationId="{D08A1857-84F4-044D-8CAE-F94624A327E0}"/>
          </ac:spMkLst>
        </pc:spChg>
        <pc:spChg chg="mod">
          <ac:chgData name="Jacob, Karen (SPAC/PSPC) (elle-la / she-her)" userId="66e9cce0-e37b-4645-a907-f7690bd68dfb" providerId="ADAL" clId="{871AC57A-6E3B-4D85-BA02-8D6F5065EA89}" dt="2024-06-05T17:57:36.566" v="146"/>
          <ac:spMkLst>
            <pc:docMk/>
            <pc:sldMk cId="1903397118" sldId="5004"/>
            <ac:spMk id="256" creationId="{A0812634-E264-70EB-B2DC-4F2C54419E1A}"/>
          </ac:spMkLst>
        </pc:spChg>
        <pc:spChg chg="mod">
          <ac:chgData name="Jacob, Karen (SPAC/PSPC) (elle-la / she-her)" userId="66e9cce0-e37b-4645-a907-f7690bd68dfb" providerId="ADAL" clId="{871AC57A-6E3B-4D85-BA02-8D6F5065EA89}" dt="2024-06-05T17:57:36.566" v="146"/>
          <ac:spMkLst>
            <pc:docMk/>
            <pc:sldMk cId="1903397118" sldId="5004"/>
            <ac:spMk id="257" creationId="{8159A2C1-ED75-662B-1FD7-52410B173F67}"/>
          </ac:spMkLst>
        </pc:spChg>
        <pc:spChg chg="mod">
          <ac:chgData name="Jacob, Karen (SPAC/PSPC) (elle-la / she-her)" userId="66e9cce0-e37b-4645-a907-f7690bd68dfb" providerId="ADAL" clId="{871AC57A-6E3B-4D85-BA02-8D6F5065EA89}" dt="2024-06-05T17:57:36.566" v="146"/>
          <ac:spMkLst>
            <pc:docMk/>
            <pc:sldMk cId="1903397118" sldId="5004"/>
            <ac:spMk id="258" creationId="{8266099A-6399-10FE-1431-AC74E58B56F8}"/>
          </ac:spMkLst>
        </pc:spChg>
        <pc:spChg chg="mod">
          <ac:chgData name="Jacob, Karen (SPAC/PSPC) (elle-la / she-her)" userId="66e9cce0-e37b-4645-a907-f7690bd68dfb" providerId="ADAL" clId="{871AC57A-6E3B-4D85-BA02-8D6F5065EA89}" dt="2024-06-05T17:57:36.566" v="146"/>
          <ac:spMkLst>
            <pc:docMk/>
            <pc:sldMk cId="1903397118" sldId="5004"/>
            <ac:spMk id="259" creationId="{B475523B-B94F-E555-4EB6-169AB6AE6536}"/>
          </ac:spMkLst>
        </pc:spChg>
        <pc:spChg chg="mod">
          <ac:chgData name="Jacob, Karen (SPAC/PSPC) (elle-la / she-her)" userId="66e9cce0-e37b-4645-a907-f7690bd68dfb" providerId="ADAL" clId="{871AC57A-6E3B-4D85-BA02-8D6F5065EA89}" dt="2024-06-05T17:57:36.566" v="146"/>
          <ac:spMkLst>
            <pc:docMk/>
            <pc:sldMk cId="1903397118" sldId="5004"/>
            <ac:spMk id="260" creationId="{1E0E5E8A-CDCF-2936-E342-7DA4E394C28E}"/>
          </ac:spMkLst>
        </pc:spChg>
        <pc:spChg chg="mod">
          <ac:chgData name="Jacob, Karen (SPAC/PSPC) (elle-la / she-her)" userId="66e9cce0-e37b-4645-a907-f7690bd68dfb" providerId="ADAL" clId="{871AC57A-6E3B-4D85-BA02-8D6F5065EA89}" dt="2024-06-05T17:57:36.566" v="146"/>
          <ac:spMkLst>
            <pc:docMk/>
            <pc:sldMk cId="1903397118" sldId="5004"/>
            <ac:spMk id="261" creationId="{66ACB141-4C47-B077-7C5E-0CE50B1147F6}"/>
          </ac:spMkLst>
        </pc:spChg>
        <pc:spChg chg="mod">
          <ac:chgData name="Jacob, Karen (SPAC/PSPC) (elle-la / she-her)" userId="66e9cce0-e37b-4645-a907-f7690bd68dfb" providerId="ADAL" clId="{871AC57A-6E3B-4D85-BA02-8D6F5065EA89}" dt="2024-06-05T17:57:36.566" v="146"/>
          <ac:spMkLst>
            <pc:docMk/>
            <pc:sldMk cId="1903397118" sldId="5004"/>
            <ac:spMk id="262" creationId="{D6B8952A-1B6F-0E44-0034-C6843E671B03}"/>
          </ac:spMkLst>
        </pc:spChg>
        <pc:spChg chg="mod">
          <ac:chgData name="Jacob, Karen (SPAC/PSPC) (elle-la / she-her)" userId="66e9cce0-e37b-4645-a907-f7690bd68dfb" providerId="ADAL" clId="{871AC57A-6E3B-4D85-BA02-8D6F5065EA89}" dt="2024-06-05T17:57:36.566" v="146"/>
          <ac:spMkLst>
            <pc:docMk/>
            <pc:sldMk cId="1903397118" sldId="5004"/>
            <ac:spMk id="263" creationId="{E657A509-8AE2-43E3-00E6-23E1DF4C0327}"/>
          </ac:spMkLst>
        </pc:spChg>
        <pc:spChg chg="mod">
          <ac:chgData name="Jacob, Karen (SPAC/PSPC) (elle-la / she-her)" userId="66e9cce0-e37b-4645-a907-f7690bd68dfb" providerId="ADAL" clId="{871AC57A-6E3B-4D85-BA02-8D6F5065EA89}" dt="2024-06-05T17:57:36.566" v="146"/>
          <ac:spMkLst>
            <pc:docMk/>
            <pc:sldMk cId="1903397118" sldId="5004"/>
            <ac:spMk id="264" creationId="{362FE975-FA86-2D2D-4B03-A5DDC6CB655A}"/>
          </ac:spMkLst>
        </pc:spChg>
        <pc:spChg chg="mod">
          <ac:chgData name="Jacob, Karen (SPAC/PSPC) (elle-la / she-her)" userId="66e9cce0-e37b-4645-a907-f7690bd68dfb" providerId="ADAL" clId="{871AC57A-6E3B-4D85-BA02-8D6F5065EA89}" dt="2024-06-05T17:57:36.566" v="146"/>
          <ac:spMkLst>
            <pc:docMk/>
            <pc:sldMk cId="1903397118" sldId="5004"/>
            <ac:spMk id="265" creationId="{0A0D8114-F1FF-AEF5-B03A-C1BDBD46FF4A}"/>
          </ac:spMkLst>
        </pc:spChg>
        <pc:spChg chg="mod">
          <ac:chgData name="Jacob, Karen (SPAC/PSPC) (elle-la / she-her)" userId="66e9cce0-e37b-4645-a907-f7690bd68dfb" providerId="ADAL" clId="{871AC57A-6E3B-4D85-BA02-8D6F5065EA89}" dt="2024-06-05T17:57:36.566" v="146"/>
          <ac:spMkLst>
            <pc:docMk/>
            <pc:sldMk cId="1903397118" sldId="5004"/>
            <ac:spMk id="266" creationId="{A3762BDC-D20E-2D29-80A4-792CE492D590}"/>
          </ac:spMkLst>
        </pc:spChg>
        <pc:spChg chg="mod">
          <ac:chgData name="Jacob, Karen (SPAC/PSPC) (elle-la / she-her)" userId="66e9cce0-e37b-4645-a907-f7690bd68dfb" providerId="ADAL" clId="{871AC57A-6E3B-4D85-BA02-8D6F5065EA89}" dt="2024-06-05T17:57:36.566" v="146"/>
          <ac:spMkLst>
            <pc:docMk/>
            <pc:sldMk cId="1903397118" sldId="5004"/>
            <ac:spMk id="267" creationId="{B22DB67D-32A0-74C2-639F-89BCA54367E0}"/>
          </ac:spMkLst>
        </pc:spChg>
        <pc:spChg chg="mod">
          <ac:chgData name="Jacob, Karen (SPAC/PSPC) (elle-la / she-her)" userId="66e9cce0-e37b-4645-a907-f7690bd68dfb" providerId="ADAL" clId="{871AC57A-6E3B-4D85-BA02-8D6F5065EA89}" dt="2024-06-05T17:57:36.566" v="146"/>
          <ac:spMkLst>
            <pc:docMk/>
            <pc:sldMk cId="1903397118" sldId="5004"/>
            <ac:spMk id="268" creationId="{3A6857F0-6FA2-F838-08E3-E82809FC933E}"/>
          </ac:spMkLst>
        </pc:spChg>
        <pc:spChg chg="mod">
          <ac:chgData name="Jacob, Karen (SPAC/PSPC) (elle-la / she-her)" userId="66e9cce0-e37b-4645-a907-f7690bd68dfb" providerId="ADAL" clId="{871AC57A-6E3B-4D85-BA02-8D6F5065EA89}" dt="2024-06-05T17:57:36.566" v="146"/>
          <ac:spMkLst>
            <pc:docMk/>
            <pc:sldMk cId="1903397118" sldId="5004"/>
            <ac:spMk id="269" creationId="{DA852FCA-5291-F473-7B85-CD6174E96D1E}"/>
          </ac:spMkLst>
        </pc:spChg>
        <pc:spChg chg="mod">
          <ac:chgData name="Jacob, Karen (SPAC/PSPC) (elle-la / she-her)" userId="66e9cce0-e37b-4645-a907-f7690bd68dfb" providerId="ADAL" clId="{871AC57A-6E3B-4D85-BA02-8D6F5065EA89}" dt="2024-06-05T17:57:36.566" v="146"/>
          <ac:spMkLst>
            <pc:docMk/>
            <pc:sldMk cId="1903397118" sldId="5004"/>
            <ac:spMk id="270" creationId="{56DB2B05-ECBF-EBDD-712D-A43991E7CA16}"/>
          </ac:spMkLst>
        </pc:spChg>
        <pc:spChg chg="mod">
          <ac:chgData name="Jacob, Karen (SPAC/PSPC) (elle-la / she-her)" userId="66e9cce0-e37b-4645-a907-f7690bd68dfb" providerId="ADAL" clId="{871AC57A-6E3B-4D85-BA02-8D6F5065EA89}" dt="2024-06-05T17:57:36.566" v="146"/>
          <ac:spMkLst>
            <pc:docMk/>
            <pc:sldMk cId="1903397118" sldId="5004"/>
            <ac:spMk id="271" creationId="{B1C75131-42CA-BFEC-DA85-65E3CF9A95EF}"/>
          </ac:spMkLst>
        </pc:spChg>
        <pc:spChg chg="mod">
          <ac:chgData name="Jacob, Karen (SPAC/PSPC) (elle-la / she-her)" userId="66e9cce0-e37b-4645-a907-f7690bd68dfb" providerId="ADAL" clId="{871AC57A-6E3B-4D85-BA02-8D6F5065EA89}" dt="2024-06-05T17:57:36.566" v="146"/>
          <ac:spMkLst>
            <pc:docMk/>
            <pc:sldMk cId="1903397118" sldId="5004"/>
            <ac:spMk id="272" creationId="{FDDE0573-0179-BA50-2116-F0523FF230E9}"/>
          </ac:spMkLst>
        </pc:spChg>
        <pc:spChg chg="mod">
          <ac:chgData name="Jacob, Karen (SPAC/PSPC) (elle-la / she-her)" userId="66e9cce0-e37b-4645-a907-f7690bd68dfb" providerId="ADAL" clId="{871AC57A-6E3B-4D85-BA02-8D6F5065EA89}" dt="2024-06-05T17:57:36.566" v="146"/>
          <ac:spMkLst>
            <pc:docMk/>
            <pc:sldMk cId="1903397118" sldId="5004"/>
            <ac:spMk id="273" creationId="{C3B10571-F8C9-F123-21CE-5AFBA152579C}"/>
          </ac:spMkLst>
        </pc:spChg>
        <pc:spChg chg="mod">
          <ac:chgData name="Jacob, Karen (SPAC/PSPC) (elle-la / she-her)" userId="66e9cce0-e37b-4645-a907-f7690bd68dfb" providerId="ADAL" clId="{871AC57A-6E3B-4D85-BA02-8D6F5065EA89}" dt="2024-06-05T17:57:36.566" v="146"/>
          <ac:spMkLst>
            <pc:docMk/>
            <pc:sldMk cId="1903397118" sldId="5004"/>
            <ac:spMk id="275" creationId="{CFA7901C-E192-10B9-C980-C98D47C66704}"/>
          </ac:spMkLst>
        </pc:spChg>
        <pc:spChg chg="mod">
          <ac:chgData name="Jacob, Karen (SPAC/PSPC) (elle-la / she-her)" userId="66e9cce0-e37b-4645-a907-f7690bd68dfb" providerId="ADAL" clId="{871AC57A-6E3B-4D85-BA02-8D6F5065EA89}" dt="2024-06-05T17:57:36.566" v="146"/>
          <ac:spMkLst>
            <pc:docMk/>
            <pc:sldMk cId="1903397118" sldId="5004"/>
            <ac:spMk id="277" creationId="{1DC25891-A551-6759-6814-793854881FEA}"/>
          </ac:spMkLst>
        </pc:spChg>
        <pc:spChg chg="mod">
          <ac:chgData name="Jacob, Karen (SPAC/PSPC) (elle-la / she-her)" userId="66e9cce0-e37b-4645-a907-f7690bd68dfb" providerId="ADAL" clId="{871AC57A-6E3B-4D85-BA02-8D6F5065EA89}" dt="2024-06-05T17:57:36.566" v="146"/>
          <ac:spMkLst>
            <pc:docMk/>
            <pc:sldMk cId="1903397118" sldId="5004"/>
            <ac:spMk id="278" creationId="{A5FB845A-A468-D4EA-279D-3B343704B048}"/>
          </ac:spMkLst>
        </pc:spChg>
        <pc:spChg chg="mod">
          <ac:chgData name="Jacob, Karen (SPAC/PSPC) (elle-la / she-her)" userId="66e9cce0-e37b-4645-a907-f7690bd68dfb" providerId="ADAL" clId="{871AC57A-6E3B-4D85-BA02-8D6F5065EA89}" dt="2024-06-05T17:57:36.566" v="146"/>
          <ac:spMkLst>
            <pc:docMk/>
            <pc:sldMk cId="1903397118" sldId="5004"/>
            <ac:spMk id="279" creationId="{AE5061A4-B73D-15CA-5B3C-FB37E7E2B2F5}"/>
          </ac:spMkLst>
        </pc:spChg>
        <pc:spChg chg="mod">
          <ac:chgData name="Jacob, Karen (SPAC/PSPC) (elle-la / she-her)" userId="66e9cce0-e37b-4645-a907-f7690bd68dfb" providerId="ADAL" clId="{871AC57A-6E3B-4D85-BA02-8D6F5065EA89}" dt="2024-06-05T17:57:36.566" v="146"/>
          <ac:spMkLst>
            <pc:docMk/>
            <pc:sldMk cId="1903397118" sldId="5004"/>
            <ac:spMk id="280" creationId="{C55CD1B8-FBC0-DCF1-D863-B76D2EA4E4CD}"/>
          </ac:spMkLst>
        </pc:spChg>
        <pc:spChg chg="mod">
          <ac:chgData name="Jacob, Karen (SPAC/PSPC) (elle-la / she-her)" userId="66e9cce0-e37b-4645-a907-f7690bd68dfb" providerId="ADAL" clId="{871AC57A-6E3B-4D85-BA02-8D6F5065EA89}" dt="2024-06-05T17:57:36.566" v="146"/>
          <ac:spMkLst>
            <pc:docMk/>
            <pc:sldMk cId="1903397118" sldId="5004"/>
            <ac:spMk id="281" creationId="{ACC63CB5-97FD-C363-B49A-EBE7760BE2DD}"/>
          </ac:spMkLst>
        </pc:spChg>
        <pc:spChg chg="mod">
          <ac:chgData name="Jacob, Karen (SPAC/PSPC) (elle-la / she-her)" userId="66e9cce0-e37b-4645-a907-f7690bd68dfb" providerId="ADAL" clId="{871AC57A-6E3B-4D85-BA02-8D6F5065EA89}" dt="2024-06-05T17:57:36.566" v="146"/>
          <ac:spMkLst>
            <pc:docMk/>
            <pc:sldMk cId="1903397118" sldId="5004"/>
            <ac:spMk id="282" creationId="{1BE764D9-A606-2C88-EABF-4C8E9FD40E9E}"/>
          </ac:spMkLst>
        </pc:spChg>
        <pc:spChg chg="mod">
          <ac:chgData name="Jacob, Karen (SPAC/PSPC) (elle-la / she-her)" userId="66e9cce0-e37b-4645-a907-f7690bd68dfb" providerId="ADAL" clId="{871AC57A-6E3B-4D85-BA02-8D6F5065EA89}" dt="2024-06-05T17:57:36.566" v="146"/>
          <ac:spMkLst>
            <pc:docMk/>
            <pc:sldMk cId="1903397118" sldId="5004"/>
            <ac:spMk id="283" creationId="{DD44E0F5-1D3A-2B25-5E5D-470B74E88D2E}"/>
          </ac:spMkLst>
        </pc:spChg>
        <pc:spChg chg="mod">
          <ac:chgData name="Jacob, Karen (SPAC/PSPC) (elle-la / she-her)" userId="66e9cce0-e37b-4645-a907-f7690bd68dfb" providerId="ADAL" clId="{871AC57A-6E3B-4D85-BA02-8D6F5065EA89}" dt="2024-06-05T17:57:36.566" v="146"/>
          <ac:spMkLst>
            <pc:docMk/>
            <pc:sldMk cId="1903397118" sldId="5004"/>
            <ac:spMk id="284" creationId="{BDA12963-1507-4445-91A9-93903E659C52}"/>
          </ac:spMkLst>
        </pc:spChg>
        <pc:spChg chg="mod">
          <ac:chgData name="Jacob, Karen (SPAC/PSPC) (elle-la / she-her)" userId="66e9cce0-e37b-4645-a907-f7690bd68dfb" providerId="ADAL" clId="{871AC57A-6E3B-4D85-BA02-8D6F5065EA89}" dt="2024-06-05T17:57:36.566" v="146"/>
          <ac:spMkLst>
            <pc:docMk/>
            <pc:sldMk cId="1903397118" sldId="5004"/>
            <ac:spMk id="285" creationId="{04F7C5BE-B5A8-BBB9-4238-FE33544A8359}"/>
          </ac:spMkLst>
        </pc:spChg>
        <pc:spChg chg="mod">
          <ac:chgData name="Jacob, Karen (SPAC/PSPC) (elle-la / she-her)" userId="66e9cce0-e37b-4645-a907-f7690bd68dfb" providerId="ADAL" clId="{871AC57A-6E3B-4D85-BA02-8D6F5065EA89}" dt="2024-06-05T17:57:36.566" v="146"/>
          <ac:spMkLst>
            <pc:docMk/>
            <pc:sldMk cId="1903397118" sldId="5004"/>
            <ac:spMk id="286" creationId="{774080CF-0AB5-FFEE-BF9A-B9EECAD655AF}"/>
          </ac:spMkLst>
        </pc:spChg>
        <pc:spChg chg="mod">
          <ac:chgData name="Jacob, Karen (SPAC/PSPC) (elle-la / she-her)" userId="66e9cce0-e37b-4645-a907-f7690bd68dfb" providerId="ADAL" clId="{871AC57A-6E3B-4D85-BA02-8D6F5065EA89}" dt="2024-06-05T17:57:36.566" v="146"/>
          <ac:spMkLst>
            <pc:docMk/>
            <pc:sldMk cId="1903397118" sldId="5004"/>
            <ac:spMk id="287" creationId="{19FF0BDD-B7F4-13C8-E580-18844F6BB050}"/>
          </ac:spMkLst>
        </pc:spChg>
        <pc:spChg chg="mod">
          <ac:chgData name="Jacob, Karen (SPAC/PSPC) (elle-la / she-her)" userId="66e9cce0-e37b-4645-a907-f7690bd68dfb" providerId="ADAL" clId="{871AC57A-6E3B-4D85-BA02-8D6F5065EA89}" dt="2024-06-05T17:57:36.566" v="146"/>
          <ac:spMkLst>
            <pc:docMk/>
            <pc:sldMk cId="1903397118" sldId="5004"/>
            <ac:spMk id="288" creationId="{0FD5D344-AF36-D2C5-068A-1F7928385672}"/>
          </ac:spMkLst>
        </pc:spChg>
        <pc:spChg chg="mod">
          <ac:chgData name="Jacob, Karen (SPAC/PSPC) (elle-la / she-her)" userId="66e9cce0-e37b-4645-a907-f7690bd68dfb" providerId="ADAL" clId="{871AC57A-6E3B-4D85-BA02-8D6F5065EA89}" dt="2024-06-05T17:57:36.566" v="146"/>
          <ac:spMkLst>
            <pc:docMk/>
            <pc:sldMk cId="1903397118" sldId="5004"/>
            <ac:spMk id="289" creationId="{AB521D2D-22B4-5235-B627-080EC3B108A2}"/>
          </ac:spMkLst>
        </pc:spChg>
        <pc:spChg chg="mod">
          <ac:chgData name="Jacob, Karen (SPAC/PSPC) (elle-la / she-her)" userId="66e9cce0-e37b-4645-a907-f7690bd68dfb" providerId="ADAL" clId="{871AC57A-6E3B-4D85-BA02-8D6F5065EA89}" dt="2024-06-05T17:57:36.566" v="146"/>
          <ac:spMkLst>
            <pc:docMk/>
            <pc:sldMk cId="1903397118" sldId="5004"/>
            <ac:spMk id="290" creationId="{22431310-A6AF-49F6-6C9D-66DF5DD0D27F}"/>
          </ac:spMkLst>
        </pc:spChg>
        <pc:spChg chg="mod">
          <ac:chgData name="Jacob, Karen (SPAC/PSPC) (elle-la / she-her)" userId="66e9cce0-e37b-4645-a907-f7690bd68dfb" providerId="ADAL" clId="{871AC57A-6E3B-4D85-BA02-8D6F5065EA89}" dt="2024-06-05T17:57:36.566" v="146"/>
          <ac:spMkLst>
            <pc:docMk/>
            <pc:sldMk cId="1903397118" sldId="5004"/>
            <ac:spMk id="291" creationId="{9FAC6019-9A10-4939-BC94-5E5751708FDF}"/>
          </ac:spMkLst>
        </pc:spChg>
        <pc:spChg chg="mod">
          <ac:chgData name="Jacob, Karen (SPAC/PSPC) (elle-la / she-her)" userId="66e9cce0-e37b-4645-a907-f7690bd68dfb" providerId="ADAL" clId="{871AC57A-6E3B-4D85-BA02-8D6F5065EA89}" dt="2024-06-05T17:57:36.566" v="146"/>
          <ac:spMkLst>
            <pc:docMk/>
            <pc:sldMk cId="1903397118" sldId="5004"/>
            <ac:spMk id="292" creationId="{3B1771D4-D09C-1C15-0843-1181CAC953F2}"/>
          </ac:spMkLst>
        </pc:spChg>
        <pc:spChg chg="mod">
          <ac:chgData name="Jacob, Karen (SPAC/PSPC) (elle-la / she-her)" userId="66e9cce0-e37b-4645-a907-f7690bd68dfb" providerId="ADAL" clId="{871AC57A-6E3B-4D85-BA02-8D6F5065EA89}" dt="2024-06-05T17:57:36.566" v="146"/>
          <ac:spMkLst>
            <pc:docMk/>
            <pc:sldMk cId="1903397118" sldId="5004"/>
            <ac:spMk id="293" creationId="{838CB9D1-8A76-3A28-E971-C3E0109D1CAC}"/>
          </ac:spMkLst>
        </pc:spChg>
        <pc:spChg chg="mod">
          <ac:chgData name="Jacob, Karen (SPAC/PSPC) (elle-la / she-her)" userId="66e9cce0-e37b-4645-a907-f7690bd68dfb" providerId="ADAL" clId="{871AC57A-6E3B-4D85-BA02-8D6F5065EA89}" dt="2024-06-05T17:57:36.566" v="146"/>
          <ac:spMkLst>
            <pc:docMk/>
            <pc:sldMk cId="1903397118" sldId="5004"/>
            <ac:spMk id="294" creationId="{C4A16E60-C7A3-3B14-06D7-381D31E7E531}"/>
          </ac:spMkLst>
        </pc:spChg>
        <pc:spChg chg="mod">
          <ac:chgData name="Jacob, Karen (SPAC/PSPC) (elle-la / she-her)" userId="66e9cce0-e37b-4645-a907-f7690bd68dfb" providerId="ADAL" clId="{871AC57A-6E3B-4D85-BA02-8D6F5065EA89}" dt="2024-06-05T17:57:36.566" v="146"/>
          <ac:spMkLst>
            <pc:docMk/>
            <pc:sldMk cId="1903397118" sldId="5004"/>
            <ac:spMk id="295" creationId="{19F3388E-D131-FBD3-98A4-71304B569646}"/>
          </ac:spMkLst>
        </pc:spChg>
        <pc:spChg chg="mod">
          <ac:chgData name="Jacob, Karen (SPAC/PSPC) (elle-la / she-her)" userId="66e9cce0-e37b-4645-a907-f7690bd68dfb" providerId="ADAL" clId="{871AC57A-6E3B-4D85-BA02-8D6F5065EA89}" dt="2024-06-05T17:57:36.566" v="146"/>
          <ac:spMkLst>
            <pc:docMk/>
            <pc:sldMk cId="1903397118" sldId="5004"/>
            <ac:spMk id="296" creationId="{FDE52C8F-34CB-9EB6-FC99-2EDED2E806BC}"/>
          </ac:spMkLst>
        </pc:spChg>
        <pc:spChg chg="mod">
          <ac:chgData name="Jacob, Karen (SPAC/PSPC) (elle-la / she-her)" userId="66e9cce0-e37b-4645-a907-f7690bd68dfb" providerId="ADAL" clId="{871AC57A-6E3B-4D85-BA02-8D6F5065EA89}" dt="2024-06-05T17:57:36.566" v="146"/>
          <ac:spMkLst>
            <pc:docMk/>
            <pc:sldMk cId="1903397118" sldId="5004"/>
            <ac:spMk id="297" creationId="{0D4059E6-064A-F09E-605C-93D419F53BEA}"/>
          </ac:spMkLst>
        </pc:spChg>
        <pc:spChg chg="mod">
          <ac:chgData name="Jacob, Karen (SPAC/PSPC) (elle-la / she-her)" userId="66e9cce0-e37b-4645-a907-f7690bd68dfb" providerId="ADAL" clId="{871AC57A-6E3B-4D85-BA02-8D6F5065EA89}" dt="2024-06-05T17:57:36.566" v="146"/>
          <ac:spMkLst>
            <pc:docMk/>
            <pc:sldMk cId="1903397118" sldId="5004"/>
            <ac:spMk id="298" creationId="{B9B09B50-9743-6084-2745-8346C1A0A97E}"/>
          </ac:spMkLst>
        </pc:spChg>
        <pc:spChg chg="mod">
          <ac:chgData name="Jacob, Karen (SPAC/PSPC) (elle-la / she-her)" userId="66e9cce0-e37b-4645-a907-f7690bd68dfb" providerId="ADAL" clId="{871AC57A-6E3B-4D85-BA02-8D6F5065EA89}" dt="2024-06-05T17:57:36.566" v="146"/>
          <ac:spMkLst>
            <pc:docMk/>
            <pc:sldMk cId="1903397118" sldId="5004"/>
            <ac:spMk id="299" creationId="{07A63101-4128-02C4-0422-5764B922EA50}"/>
          </ac:spMkLst>
        </pc:spChg>
        <pc:spChg chg="mod">
          <ac:chgData name="Jacob, Karen (SPAC/PSPC) (elle-la / she-her)" userId="66e9cce0-e37b-4645-a907-f7690bd68dfb" providerId="ADAL" clId="{871AC57A-6E3B-4D85-BA02-8D6F5065EA89}" dt="2024-06-05T17:57:36.566" v="146"/>
          <ac:spMkLst>
            <pc:docMk/>
            <pc:sldMk cId="1903397118" sldId="5004"/>
            <ac:spMk id="300" creationId="{867D8935-C439-D4E2-B997-89C4354D5259}"/>
          </ac:spMkLst>
        </pc:spChg>
        <pc:spChg chg="mod">
          <ac:chgData name="Jacob, Karen (SPAC/PSPC) (elle-la / she-her)" userId="66e9cce0-e37b-4645-a907-f7690bd68dfb" providerId="ADAL" clId="{871AC57A-6E3B-4D85-BA02-8D6F5065EA89}" dt="2024-06-05T17:57:36.566" v="146"/>
          <ac:spMkLst>
            <pc:docMk/>
            <pc:sldMk cId="1903397118" sldId="5004"/>
            <ac:spMk id="301" creationId="{D44CCA65-1CEB-229A-25FC-7D755DC53405}"/>
          </ac:spMkLst>
        </pc:spChg>
        <pc:spChg chg="mod">
          <ac:chgData name="Jacob, Karen (SPAC/PSPC) (elle-la / she-her)" userId="66e9cce0-e37b-4645-a907-f7690bd68dfb" providerId="ADAL" clId="{871AC57A-6E3B-4D85-BA02-8D6F5065EA89}" dt="2024-06-05T17:57:36.566" v="146"/>
          <ac:spMkLst>
            <pc:docMk/>
            <pc:sldMk cId="1903397118" sldId="5004"/>
            <ac:spMk id="302" creationId="{EC2E7FE4-95A6-B60E-21E9-07D8AB41D095}"/>
          </ac:spMkLst>
        </pc:spChg>
        <pc:spChg chg="mod">
          <ac:chgData name="Jacob, Karen (SPAC/PSPC) (elle-la / she-her)" userId="66e9cce0-e37b-4645-a907-f7690bd68dfb" providerId="ADAL" clId="{871AC57A-6E3B-4D85-BA02-8D6F5065EA89}" dt="2024-06-05T17:57:36.566" v="146"/>
          <ac:spMkLst>
            <pc:docMk/>
            <pc:sldMk cId="1903397118" sldId="5004"/>
            <ac:spMk id="303" creationId="{486F8B69-4A98-F70C-F870-3BEDB049F19A}"/>
          </ac:spMkLst>
        </pc:spChg>
        <pc:spChg chg="mod">
          <ac:chgData name="Jacob, Karen (SPAC/PSPC) (elle-la / she-her)" userId="66e9cce0-e37b-4645-a907-f7690bd68dfb" providerId="ADAL" clId="{871AC57A-6E3B-4D85-BA02-8D6F5065EA89}" dt="2024-06-05T17:57:36.566" v="146"/>
          <ac:spMkLst>
            <pc:docMk/>
            <pc:sldMk cId="1903397118" sldId="5004"/>
            <ac:spMk id="304" creationId="{033643F7-861B-551D-874C-DB6F96FDF6AD}"/>
          </ac:spMkLst>
        </pc:spChg>
        <pc:spChg chg="mod">
          <ac:chgData name="Jacob, Karen (SPAC/PSPC) (elle-la / she-her)" userId="66e9cce0-e37b-4645-a907-f7690bd68dfb" providerId="ADAL" clId="{871AC57A-6E3B-4D85-BA02-8D6F5065EA89}" dt="2024-06-05T17:57:36.566" v="146"/>
          <ac:spMkLst>
            <pc:docMk/>
            <pc:sldMk cId="1903397118" sldId="5004"/>
            <ac:spMk id="305" creationId="{5FC6F875-BD0D-F981-2495-3C7D2B9C91D3}"/>
          </ac:spMkLst>
        </pc:spChg>
        <pc:spChg chg="mod">
          <ac:chgData name="Jacob, Karen (SPAC/PSPC) (elle-la / she-her)" userId="66e9cce0-e37b-4645-a907-f7690bd68dfb" providerId="ADAL" clId="{871AC57A-6E3B-4D85-BA02-8D6F5065EA89}" dt="2024-06-05T17:57:36.566" v="146"/>
          <ac:spMkLst>
            <pc:docMk/>
            <pc:sldMk cId="1903397118" sldId="5004"/>
            <ac:spMk id="306" creationId="{23CA3B9F-484A-3CC5-CE87-C0627FC8A68A}"/>
          </ac:spMkLst>
        </pc:spChg>
        <pc:spChg chg="mod">
          <ac:chgData name="Jacob, Karen (SPAC/PSPC) (elle-la / she-her)" userId="66e9cce0-e37b-4645-a907-f7690bd68dfb" providerId="ADAL" clId="{871AC57A-6E3B-4D85-BA02-8D6F5065EA89}" dt="2024-06-05T17:57:36.566" v="146"/>
          <ac:spMkLst>
            <pc:docMk/>
            <pc:sldMk cId="1903397118" sldId="5004"/>
            <ac:spMk id="307" creationId="{47AC2C31-60A4-7A86-EA0C-458788262976}"/>
          </ac:spMkLst>
        </pc:spChg>
        <pc:spChg chg="mod">
          <ac:chgData name="Jacob, Karen (SPAC/PSPC) (elle-la / she-her)" userId="66e9cce0-e37b-4645-a907-f7690bd68dfb" providerId="ADAL" clId="{871AC57A-6E3B-4D85-BA02-8D6F5065EA89}" dt="2024-06-05T17:57:36.566" v="146"/>
          <ac:spMkLst>
            <pc:docMk/>
            <pc:sldMk cId="1903397118" sldId="5004"/>
            <ac:spMk id="308" creationId="{98B65BDA-599B-0949-6C51-1F247B3E9706}"/>
          </ac:spMkLst>
        </pc:spChg>
        <pc:spChg chg="mod">
          <ac:chgData name="Jacob, Karen (SPAC/PSPC) (elle-la / she-her)" userId="66e9cce0-e37b-4645-a907-f7690bd68dfb" providerId="ADAL" clId="{871AC57A-6E3B-4D85-BA02-8D6F5065EA89}" dt="2024-06-05T17:57:36.566" v="146"/>
          <ac:spMkLst>
            <pc:docMk/>
            <pc:sldMk cId="1903397118" sldId="5004"/>
            <ac:spMk id="309" creationId="{DDEEA858-3A27-BB44-9C2C-75D5FF37337A}"/>
          </ac:spMkLst>
        </pc:spChg>
        <pc:spChg chg="mod">
          <ac:chgData name="Jacob, Karen (SPAC/PSPC) (elle-la / she-her)" userId="66e9cce0-e37b-4645-a907-f7690bd68dfb" providerId="ADAL" clId="{871AC57A-6E3B-4D85-BA02-8D6F5065EA89}" dt="2024-06-05T17:57:36.566" v="146"/>
          <ac:spMkLst>
            <pc:docMk/>
            <pc:sldMk cId="1903397118" sldId="5004"/>
            <ac:spMk id="310" creationId="{E27278B1-F065-49ED-0B04-110DBFACA799}"/>
          </ac:spMkLst>
        </pc:spChg>
        <pc:spChg chg="mod">
          <ac:chgData name="Jacob, Karen (SPAC/PSPC) (elle-la / she-her)" userId="66e9cce0-e37b-4645-a907-f7690bd68dfb" providerId="ADAL" clId="{871AC57A-6E3B-4D85-BA02-8D6F5065EA89}" dt="2024-06-05T17:57:36.566" v="146"/>
          <ac:spMkLst>
            <pc:docMk/>
            <pc:sldMk cId="1903397118" sldId="5004"/>
            <ac:spMk id="311" creationId="{7C40C0AA-5751-FBDE-51E6-57E08FAA0E4F}"/>
          </ac:spMkLst>
        </pc:spChg>
        <pc:spChg chg="mod">
          <ac:chgData name="Jacob, Karen (SPAC/PSPC) (elle-la / she-her)" userId="66e9cce0-e37b-4645-a907-f7690bd68dfb" providerId="ADAL" clId="{871AC57A-6E3B-4D85-BA02-8D6F5065EA89}" dt="2024-06-05T17:57:36.566" v="146"/>
          <ac:spMkLst>
            <pc:docMk/>
            <pc:sldMk cId="1903397118" sldId="5004"/>
            <ac:spMk id="312" creationId="{2BC643A4-59D6-4771-A23C-A3A2BCF73164}"/>
          </ac:spMkLst>
        </pc:spChg>
        <pc:spChg chg="mod">
          <ac:chgData name="Jacob, Karen (SPAC/PSPC) (elle-la / she-her)" userId="66e9cce0-e37b-4645-a907-f7690bd68dfb" providerId="ADAL" clId="{871AC57A-6E3B-4D85-BA02-8D6F5065EA89}" dt="2024-06-05T17:57:36.566" v="146"/>
          <ac:spMkLst>
            <pc:docMk/>
            <pc:sldMk cId="1903397118" sldId="5004"/>
            <ac:spMk id="313" creationId="{F3AEAFB2-507E-E6C6-CAC5-A9E7E93450C6}"/>
          </ac:spMkLst>
        </pc:spChg>
        <pc:spChg chg="mod">
          <ac:chgData name="Jacob, Karen (SPAC/PSPC) (elle-la / she-her)" userId="66e9cce0-e37b-4645-a907-f7690bd68dfb" providerId="ADAL" clId="{871AC57A-6E3B-4D85-BA02-8D6F5065EA89}" dt="2024-06-05T17:57:36.566" v="146"/>
          <ac:spMkLst>
            <pc:docMk/>
            <pc:sldMk cId="1903397118" sldId="5004"/>
            <ac:spMk id="314" creationId="{8A5CA8C3-04EE-D308-3EFD-2F3CB333B52E}"/>
          </ac:spMkLst>
        </pc:spChg>
        <pc:spChg chg="mod">
          <ac:chgData name="Jacob, Karen (SPAC/PSPC) (elle-la / she-her)" userId="66e9cce0-e37b-4645-a907-f7690bd68dfb" providerId="ADAL" clId="{871AC57A-6E3B-4D85-BA02-8D6F5065EA89}" dt="2024-06-05T17:57:36.566" v="146"/>
          <ac:spMkLst>
            <pc:docMk/>
            <pc:sldMk cId="1903397118" sldId="5004"/>
            <ac:spMk id="315" creationId="{2BB1B088-9077-A516-170E-3DEF2F33CC85}"/>
          </ac:spMkLst>
        </pc:spChg>
        <pc:spChg chg="mod">
          <ac:chgData name="Jacob, Karen (SPAC/PSPC) (elle-la / she-her)" userId="66e9cce0-e37b-4645-a907-f7690bd68dfb" providerId="ADAL" clId="{871AC57A-6E3B-4D85-BA02-8D6F5065EA89}" dt="2024-06-05T17:57:36.566" v="146"/>
          <ac:spMkLst>
            <pc:docMk/>
            <pc:sldMk cId="1903397118" sldId="5004"/>
            <ac:spMk id="316" creationId="{771D1697-D2FE-F0D4-5D52-7F19B752A119}"/>
          </ac:spMkLst>
        </pc:spChg>
        <pc:spChg chg="add mod">
          <ac:chgData name="Jacob, Karen (SPAC/PSPC) (elle-la / she-her)" userId="66e9cce0-e37b-4645-a907-f7690bd68dfb" providerId="ADAL" clId="{871AC57A-6E3B-4D85-BA02-8D6F5065EA89}" dt="2024-06-05T17:57:36.566" v="146"/>
          <ac:spMkLst>
            <pc:docMk/>
            <pc:sldMk cId="1903397118" sldId="5004"/>
            <ac:spMk id="317" creationId="{1D75D7A5-BD9C-A104-7E84-56EE80A95381}"/>
          </ac:spMkLst>
        </pc:spChg>
        <pc:spChg chg="add mod">
          <ac:chgData name="Jacob, Karen (SPAC/PSPC) (elle-la / she-her)" userId="66e9cce0-e37b-4645-a907-f7690bd68dfb" providerId="ADAL" clId="{871AC57A-6E3B-4D85-BA02-8D6F5065EA89}" dt="2024-06-05T17:57:36.566" v="146"/>
          <ac:spMkLst>
            <pc:docMk/>
            <pc:sldMk cId="1903397118" sldId="5004"/>
            <ac:spMk id="318" creationId="{EF5D2575-B618-9FAB-F82A-CDD04C102B39}"/>
          </ac:spMkLst>
        </pc:spChg>
        <pc:spChg chg="mod">
          <ac:chgData name="Jacob, Karen (SPAC/PSPC) (elle-la / she-her)" userId="66e9cce0-e37b-4645-a907-f7690bd68dfb" providerId="ADAL" clId="{871AC57A-6E3B-4D85-BA02-8D6F5065EA89}" dt="2024-06-05T17:57:36.566" v="146"/>
          <ac:spMkLst>
            <pc:docMk/>
            <pc:sldMk cId="1903397118" sldId="5004"/>
            <ac:spMk id="320" creationId="{D87A5790-27FE-C887-FAFD-E174BDC19B8E}"/>
          </ac:spMkLst>
        </pc:spChg>
        <pc:spChg chg="mod">
          <ac:chgData name="Jacob, Karen (SPAC/PSPC) (elle-la / she-her)" userId="66e9cce0-e37b-4645-a907-f7690bd68dfb" providerId="ADAL" clId="{871AC57A-6E3B-4D85-BA02-8D6F5065EA89}" dt="2024-06-05T17:57:36.566" v="146"/>
          <ac:spMkLst>
            <pc:docMk/>
            <pc:sldMk cId="1903397118" sldId="5004"/>
            <ac:spMk id="338" creationId="{F7D9B1DA-E0D2-96FA-31CB-B48F1BBF1161}"/>
          </ac:spMkLst>
        </pc:spChg>
        <pc:spChg chg="mod">
          <ac:chgData name="Jacob, Karen (SPAC/PSPC) (elle-la / she-her)" userId="66e9cce0-e37b-4645-a907-f7690bd68dfb" providerId="ADAL" clId="{871AC57A-6E3B-4D85-BA02-8D6F5065EA89}" dt="2024-06-05T17:57:36.566" v="146"/>
          <ac:spMkLst>
            <pc:docMk/>
            <pc:sldMk cId="1903397118" sldId="5004"/>
            <ac:spMk id="339" creationId="{998CF674-0385-B57E-8E5C-BDF5D99193F0}"/>
          </ac:spMkLst>
        </pc:spChg>
        <pc:spChg chg="mod">
          <ac:chgData name="Jacob, Karen (SPAC/PSPC) (elle-la / she-her)" userId="66e9cce0-e37b-4645-a907-f7690bd68dfb" providerId="ADAL" clId="{871AC57A-6E3B-4D85-BA02-8D6F5065EA89}" dt="2024-06-05T17:57:36.566" v="146"/>
          <ac:spMkLst>
            <pc:docMk/>
            <pc:sldMk cId="1903397118" sldId="5004"/>
            <ac:spMk id="340" creationId="{85DDE41F-2DA4-DDCB-BEE1-F7D498B75C21}"/>
          </ac:spMkLst>
        </pc:spChg>
        <pc:spChg chg="mod">
          <ac:chgData name="Jacob, Karen (SPAC/PSPC) (elle-la / she-her)" userId="66e9cce0-e37b-4645-a907-f7690bd68dfb" providerId="ADAL" clId="{871AC57A-6E3B-4D85-BA02-8D6F5065EA89}" dt="2024-06-05T17:57:36.566" v="146"/>
          <ac:spMkLst>
            <pc:docMk/>
            <pc:sldMk cId="1903397118" sldId="5004"/>
            <ac:spMk id="341" creationId="{7CAE57B8-8868-7A43-2B27-8460417F9F7C}"/>
          </ac:spMkLst>
        </pc:spChg>
        <pc:spChg chg="mod">
          <ac:chgData name="Jacob, Karen (SPAC/PSPC) (elle-la / she-her)" userId="66e9cce0-e37b-4645-a907-f7690bd68dfb" providerId="ADAL" clId="{871AC57A-6E3B-4D85-BA02-8D6F5065EA89}" dt="2024-06-05T17:57:36.566" v="146"/>
          <ac:spMkLst>
            <pc:docMk/>
            <pc:sldMk cId="1903397118" sldId="5004"/>
            <ac:spMk id="342" creationId="{BF5A76E6-D3C3-7FA1-BF95-57AFFC4A7A37}"/>
          </ac:spMkLst>
        </pc:spChg>
        <pc:spChg chg="mod">
          <ac:chgData name="Jacob, Karen (SPAC/PSPC) (elle-la / she-her)" userId="66e9cce0-e37b-4645-a907-f7690bd68dfb" providerId="ADAL" clId="{871AC57A-6E3B-4D85-BA02-8D6F5065EA89}" dt="2024-06-05T17:57:36.566" v="146"/>
          <ac:spMkLst>
            <pc:docMk/>
            <pc:sldMk cId="1903397118" sldId="5004"/>
            <ac:spMk id="343" creationId="{DC448669-F3D2-9DB1-0080-C1FEBA980C05}"/>
          </ac:spMkLst>
        </pc:spChg>
        <pc:spChg chg="mod">
          <ac:chgData name="Jacob, Karen (SPAC/PSPC) (elle-la / she-her)" userId="66e9cce0-e37b-4645-a907-f7690bd68dfb" providerId="ADAL" clId="{871AC57A-6E3B-4D85-BA02-8D6F5065EA89}" dt="2024-06-05T17:57:36.566" v="146"/>
          <ac:spMkLst>
            <pc:docMk/>
            <pc:sldMk cId="1903397118" sldId="5004"/>
            <ac:spMk id="344" creationId="{78F489EF-6194-89FA-E319-A51B3AFB907D}"/>
          </ac:spMkLst>
        </pc:spChg>
        <pc:spChg chg="mod">
          <ac:chgData name="Jacob, Karen (SPAC/PSPC) (elle-la / she-her)" userId="66e9cce0-e37b-4645-a907-f7690bd68dfb" providerId="ADAL" clId="{871AC57A-6E3B-4D85-BA02-8D6F5065EA89}" dt="2024-06-05T17:57:36.566" v="146"/>
          <ac:spMkLst>
            <pc:docMk/>
            <pc:sldMk cId="1903397118" sldId="5004"/>
            <ac:spMk id="345" creationId="{0DFA77BE-1B0E-665E-9A88-891F165DEAF9}"/>
          </ac:spMkLst>
        </pc:spChg>
        <pc:spChg chg="mod">
          <ac:chgData name="Jacob, Karen (SPAC/PSPC) (elle-la / she-her)" userId="66e9cce0-e37b-4645-a907-f7690bd68dfb" providerId="ADAL" clId="{871AC57A-6E3B-4D85-BA02-8D6F5065EA89}" dt="2024-06-05T17:57:36.566" v="146"/>
          <ac:spMkLst>
            <pc:docMk/>
            <pc:sldMk cId="1903397118" sldId="5004"/>
            <ac:spMk id="346" creationId="{3145FF93-7039-36D5-B7BD-EB241200E86C}"/>
          </ac:spMkLst>
        </pc:spChg>
        <pc:spChg chg="mod">
          <ac:chgData name="Jacob, Karen (SPAC/PSPC) (elle-la / she-her)" userId="66e9cce0-e37b-4645-a907-f7690bd68dfb" providerId="ADAL" clId="{871AC57A-6E3B-4D85-BA02-8D6F5065EA89}" dt="2024-06-05T17:57:36.566" v="146"/>
          <ac:spMkLst>
            <pc:docMk/>
            <pc:sldMk cId="1903397118" sldId="5004"/>
            <ac:spMk id="347" creationId="{93C0BB04-8556-F3CC-65DA-86D368A49F41}"/>
          </ac:spMkLst>
        </pc:spChg>
        <pc:spChg chg="mod">
          <ac:chgData name="Jacob, Karen (SPAC/PSPC) (elle-la / she-her)" userId="66e9cce0-e37b-4645-a907-f7690bd68dfb" providerId="ADAL" clId="{871AC57A-6E3B-4D85-BA02-8D6F5065EA89}" dt="2024-06-05T17:57:36.566" v="146"/>
          <ac:spMkLst>
            <pc:docMk/>
            <pc:sldMk cId="1903397118" sldId="5004"/>
            <ac:spMk id="349" creationId="{14FFDEA1-32B4-5DAB-6590-0B2C24849EDB}"/>
          </ac:spMkLst>
        </pc:spChg>
        <pc:spChg chg="mod">
          <ac:chgData name="Jacob, Karen (SPAC/PSPC) (elle-la / she-her)" userId="66e9cce0-e37b-4645-a907-f7690bd68dfb" providerId="ADAL" clId="{871AC57A-6E3B-4D85-BA02-8D6F5065EA89}" dt="2024-06-05T17:57:36.566" v="146"/>
          <ac:spMkLst>
            <pc:docMk/>
            <pc:sldMk cId="1903397118" sldId="5004"/>
            <ac:spMk id="350" creationId="{BADBDD4E-26DF-116A-70DA-08FAB81006CA}"/>
          </ac:spMkLst>
        </pc:spChg>
        <pc:spChg chg="mod">
          <ac:chgData name="Jacob, Karen (SPAC/PSPC) (elle-la / she-her)" userId="66e9cce0-e37b-4645-a907-f7690bd68dfb" providerId="ADAL" clId="{871AC57A-6E3B-4D85-BA02-8D6F5065EA89}" dt="2024-06-05T17:57:36.566" v="146"/>
          <ac:spMkLst>
            <pc:docMk/>
            <pc:sldMk cId="1903397118" sldId="5004"/>
            <ac:spMk id="351" creationId="{B1D87758-02EE-D26B-BC33-6A6C0E04D7E1}"/>
          </ac:spMkLst>
        </pc:spChg>
        <pc:spChg chg="mod">
          <ac:chgData name="Jacob, Karen (SPAC/PSPC) (elle-la / she-her)" userId="66e9cce0-e37b-4645-a907-f7690bd68dfb" providerId="ADAL" clId="{871AC57A-6E3B-4D85-BA02-8D6F5065EA89}" dt="2024-06-05T17:57:36.566" v="146"/>
          <ac:spMkLst>
            <pc:docMk/>
            <pc:sldMk cId="1903397118" sldId="5004"/>
            <ac:spMk id="353" creationId="{C9A6A61C-1F3B-E878-2304-85D4B732F5CA}"/>
          </ac:spMkLst>
        </pc:spChg>
        <pc:spChg chg="mod">
          <ac:chgData name="Jacob, Karen (SPAC/PSPC) (elle-la / she-her)" userId="66e9cce0-e37b-4645-a907-f7690bd68dfb" providerId="ADAL" clId="{871AC57A-6E3B-4D85-BA02-8D6F5065EA89}" dt="2024-06-05T17:57:36.566" v="146"/>
          <ac:spMkLst>
            <pc:docMk/>
            <pc:sldMk cId="1903397118" sldId="5004"/>
            <ac:spMk id="355" creationId="{A47A33AD-0C62-2325-7EF1-DA1CFEBD4A70}"/>
          </ac:spMkLst>
        </pc:spChg>
        <pc:spChg chg="mod">
          <ac:chgData name="Jacob, Karen (SPAC/PSPC) (elle-la / she-her)" userId="66e9cce0-e37b-4645-a907-f7690bd68dfb" providerId="ADAL" clId="{871AC57A-6E3B-4D85-BA02-8D6F5065EA89}" dt="2024-06-05T17:57:36.566" v="146"/>
          <ac:spMkLst>
            <pc:docMk/>
            <pc:sldMk cId="1903397118" sldId="5004"/>
            <ac:spMk id="356" creationId="{68CB24E0-ED79-BBFB-138B-E3B48A85BC46}"/>
          </ac:spMkLst>
        </pc:spChg>
        <pc:spChg chg="mod">
          <ac:chgData name="Jacob, Karen (SPAC/PSPC) (elle-la / she-her)" userId="66e9cce0-e37b-4645-a907-f7690bd68dfb" providerId="ADAL" clId="{871AC57A-6E3B-4D85-BA02-8D6F5065EA89}" dt="2024-06-05T17:57:36.566" v="146"/>
          <ac:spMkLst>
            <pc:docMk/>
            <pc:sldMk cId="1903397118" sldId="5004"/>
            <ac:spMk id="357" creationId="{31919294-ABFB-D1FD-D945-3E6B0EA2C1E9}"/>
          </ac:spMkLst>
        </pc:spChg>
        <pc:spChg chg="mod">
          <ac:chgData name="Jacob, Karen (SPAC/PSPC) (elle-la / she-her)" userId="66e9cce0-e37b-4645-a907-f7690bd68dfb" providerId="ADAL" clId="{871AC57A-6E3B-4D85-BA02-8D6F5065EA89}" dt="2024-06-05T17:57:36.566" v="146"/>
          <ac:spMkLst>
            <pc:docMk/>
            <pc:sldMk cId="1903397118" sldId="5004"/>
            <ac:spMk id="358" creationId="{28B51801-5EE8-88EE-74FB-0D97FAF6FC2B}"/>
          </ac:spMkLst>
        </pc:spChg>
        <pc:spChg chg="mod">
          <ac:chgData name="Jacob, Karen (SPAC/PSPC) (elle-la / she-her)" userId="66e9cce0-e37b-4645-a907-f7690bd68dfb" providerId="ADAL" clId="{871AC57A-6E3B-4D85-BA02-8D6F5065EA89}" dt="2024-06-05T17:57:36.566" v="146"/>
          <ac:spMkLst>
            <pc:docMk/>
            <pc:sldMk cId="1903397118" sldId="5004"/>
            <ac:spMk id="359" creationId="{9C61AB28-EA26-F522-7942-33F9BEC1C4BE}"/>
          </ac:spMkLst>
        </pc:spChg>
        <pc:spChg chg="mod">
          <ac:chgData name="Jacob, Karen (SPAC/PSPC) (elle-la / she-her)" userId="66e9cce0-e37b-4645-a907-f7690bd68dfb" providerId="ADAL" clId="{871AC57A-6E3B-4D85-BA02-8D6F5065EA89}" dt="2024-06-05T17:57:36.566" v="146"/>
          <ac:spMkLst>
            <pc:docMk/>
            <pc:sldMk cId="1903397118" sldId="5004"/>
            <ac:spMk id="360" creationId="{CBDC4266-928F-7827-C884-7B0DA949BC4D}"/>
          </ac:spMkLst>
        </pc:spChg>
        <pc:spChg chg="mod">
          <ac:chgData name="Jacob, Karen (SPAC/PSPC) (elle-la / she-her)" userId="66e9cce0-e37b-4645-a907-f7690bd68dfb" providerId="ADAL" clId="{871AC57A-6E3B-4D85-BA02-8D6F5065EA89}" dt="2024-06-05T17:57:36.566" v="146"/>
          <ac:spMkLst>
            <pc:docMk/>
            <pc:sldMk cId="1903397118" sldId="5004"/>
            <ac:spMk id="361" creationId="{24E47F1E-EC20-DECC-09B4-981C57D1C520}"/>
          </ac:spMkLst>
        </pc:spChg>
        <pc:spChg chg="mod">
          <ac:chgData name="Jacob, Karen (SPAC/PSPC) (elle-la / she-her)" userId="66e9cce0-e37b-4645-a907-f7690bd68dfb" providerId="ADAL" clId="{871AC57A-6E3B-4D85-BA02-8D6F5065EA89}" dt="2024-06-05T17:57:36.566" v="146"/>
          <ac:spMkLst>
            <pc:docMk/>
            <pc:sldMk cId="1903397118" sldId="5004"/>
            <ac:spMk id="362" creationId="{76A1C3CF-0407-440D-C49A-F9BD2CFA1D0F}"/>
          </ac:spMkLst>
        </pc:spChg>
        <pc:spChg chg="mod">
          <ac:chgData name="Jacob, Karen (SPAC/PSPC) (elle-la / she-her)" userId="66e9cce0-e37b-4645-a907-f7690bd68dfb" providerId="ADAL" clId="{871AC57A-6E3B-4D85-BA02-8D6F5065EA89}" dt="2024-06-05T17:57:36.566" v="146"/>
          <ac:spMkLst>
            <pc:docMk/>
            <pc:sldMk cId="1903397118" sldId="5004"/>
            <ac:spMk id="363" creationId="{667492B7-C501-9816-8560-F8D7E95DF2D2}"/>
          </ac:spMkLst>
        </pc:spChg>
        <pc:spChg chg="mod">
          <ac:chgData name="Jacob, Karen (SPAC/PSPC) (elle-la / she-her)" userId="66e9cce0-e37b-4645-a907-f7690bd68dfb" providerId="ADAL" clId="{871AC57A-6E3B-4D85-BA02-8D6F5065EA89}" dt="2024-06-05T17:57:36.566" v="146"/>
          <ac:spMkLst>
            <pc:docMk/>
            <pc:sldMk cId="1903397118" sldId="5004"/>
            <ac:spMk id="364" creationId="{59B7DD87-410C-F060-2CBB-AACB80FC6008}"/>
          </ac:spMkLst>
        </pc:spChg>
        <pc:spChg chg="mod">
          <ac:chgData name="Jacob, Karen (SPAC/PSPC) (elle-la / she-her)" userId="66e9cce0-e37b-4645-a907-f7690bd68dfb" providerId="ADAL" clId="{871AC57A-6E3B-4D85-BA02-8D6F5065EA89}" dt="2024-06-05T17:57:36.566" v="146"/>
          <ac:spMkLst>
            <pc:docMk/>
            <pc:sldMk cId="1903397118" sldId="5004"/>
            <ac:spMk id="365" creationId="{8EE1059E-8E49-4FC0-2393-3E27EC6CA9DD}"/>
          </ac:spMkLst>
        </pc:spChg>
        <pc:spChg chg="mod">
          <ac:chgData name="Jacob, Karen (SPAC/PSPC) (elle-la / she-her)" userId="66e9cce0-e37b-4645-a907-f7690bd68dfb" providerId="ADAL" clId="{871AC57A-6E3B-4D85-BA02-8D6F5065EA89}" dt="2024-06-05T17:57:36.566" v="146"/>
          <ac:spMkLst>
            <pc:docMk/>
            <pc:sldMk cId="1903397118" sldId="5004"/>
            <ac:spMk id="366" creationId="{895B0E11-FDF7-4EE9-CE11-C172CDFA3A3B}"/>
          </ac:spMkLst>
        </pc:spChg>
        <pc:spChg chg="mod">
          <ac:chgData name="Jacob, Karen (SPAC/PSPC) (elle-la / she-her)" userId="66e9cce0-e37b-4645-a907-f7690bd68dfb" providerId="ADAL" clId="{871AC57A-6E3B-4D85-BA02-8D6F5065EA89}" dt="2024-06-05T17:57:36.566" v="146"/>
          <ac:spMkLst>
            <pc:docMk/>
            <pc:sldMk cId="1903397118" sldId="5004"/>
            <ac:spMk id="367" creationId="{422451E4-52DC-A515-8B18-9AD12540021C}"/>
          </ac:spMkLst>
        </pc:spChg>
        <pc:spChg chg="mod">
          <ac:chgData name="Jacob, Karen (SPAC/PSPC) (elle-la / she-her)" userId="66e9cce0-e37b-4645-a907-f7690bd68dfb" providerId="ADAL" clId="{871AC57A-6E3B-4D85-BA02-8D6F5065EA89}" dt="2024-06-05T17:57:36.566" v="146"/>
          <ac:spMkLst>
            <pc:docMk/>
            <pc:sldMk cId="1903397118" sldId="5004"/>
            <ac:spMk id="368" creationId="{403C304D-2037-1CA2-3B9E-428983DC0A78}"/>
          </ac:spMkLst>
        </pc:spChg>
        <pc:spChg chg="mod">
          <ac:chgData name="Jacob, Karen (SPAC/PSPC) (elle-la / she-her)" userId="66e9cce0-e37b-4645-a907-f7690bd68dfb" providerId="ADAL" clId="{871AC57A-6E3B-4D85-BA02-8D6F5065EA89}" dt="2024-06-05T17:57:36.566" v="146"/>
          <ac:spMkLst>
            <pc:docMk/>
            <pc:sldMk cId="1903397118" sldId="5004"/>
            <ac:spMk id="369" creationId="{E1B62F7C-5C3A-0D35-B29C-630C9436367C}"/>
          </ac:spMkLst>
        </pc:spChg>
        <pc:spChg chg="mod">
          <ac:chgData name="Jacob, Karen (SPAC/PSPC) (elle-la / she-her)" userId="66e9cce0-e37b-4645-a907-f7690bd68dfb" providerId="ADAL" clId="{871AC57A-6E3B-4D85-BA02-8D6F5065EA89}" dt="2024-06-05T17:57:36.566" v="146"/>
          <ac:spMkLst>
            <pc:docMk/>
            <pc:sldMk cId="1903397118" sldId="5004"/>
            <ac:spMk id="370" creationId="{27C678A3-D96E-881D-5FC1-1E3937BCA566}"/>
          </ac:spMkLst>
        </pc:spChg>
        <pc:spChg chg="mod">
          <ac:chgData name="Jacob, Karen (SPAC/PSPC) (elle-la / she-her)" userId="66e9cce0-e37b-4645-a907-f7690bd68dfb" providerId="ADAL" clId="{871AC57A-6E3B-4D85-BA02-8D6F5065EA89}" dt="2024-06-05T17:57:36.566" v="146"/>
          <ac:spMkLst>
            <pc:docMk/>
            <pc:sldMk cId="1903397118" sldId="5004"/>
            <ac:spMk id="371" creationId="{8A316BC9-304C-1BE1-EA06-D835A1FE4584}"/>
          </ac:spMkLst>
        </pc:spChg>
        <pc:spChg chg="mod">
          <ac:chgData name="Jacob, Karen (SPAC/PSPC) (elle-la / she-her)" userId="66e9cce0-e37b-4645-a907-f7690bd68dfb" providerId="ADAL" clId="{871AC57A-6E3B-4D85-BA02-8D6F5065EA89}" dt="2024-06-05T17:57:36.566" v="146"/>
          <ac:spMkLst>
            <pc:docMk/>
            <pc:sldMk cId="1903397118" sldId="5004"/>
            <ac:spMk id="372" creationId="{3CF162D7-3917-8845-43B9-7A2E3F2C820A}"/>
          </ac:spMkLst>
        </pc:spChg>
        <pc:spChg chg="mod">
          <ac:chgData name="Jacob, Karen (SPAC/PSPC) (elle-la / she-her)" userId="66e9cce0-e37b-4645-a907-f7690bd68dfb" providerId="ADAL" clId="{871AC57A-6E3B-4D85-BA02-8D6F5065EA89}" dt="2024-06-05T17:57:36.566" v="146"/>
          <ac:spMkLst>
            <pc:docMk/>
            <pc:sldMk cId="1903397118" sldId="5004"/>
            <ac:spMk id="373" creationId="{0EA9EA86-8CF2-A9C9-9209-5181D0436DBA}"/>
          </ac:spMkLst>
        </pc:spChg>
        <pc:spChg chg="mod">
          <ac:chgData name="Jacob, Karen (SPAC/PSPC) (elle-la / she-her)" userId="66e9cce0-e37b-4645-a907-f7690bd68dfb" providerId="ADAL" clId="{871AC57A-6E3B-4D85-BA02-8D6F5065EA89}" dt="2024-06-05T17:57:36.566" v="146"/>
          <ac:spMkLst>
            <pc:docMk/>
            <pc:sldMk cId="1903397118" sldId="5004"/>
            <ac:spMk id="374" creationId="{B0EF5FA7-DE57-C068-6468-3F352B83AC4C}"/>
          </ac:spMkLst>
        </pc:spChg>
        <pc:spChg chg="mod">
          <ac:chgData name="Jacob, Karen (SPAC/PSPC) (elle-la / she-her)" userId="66e9cce0-e37b-4645-a907-f7690bd68dfb" providerId="ADAL" clId="{871AC57A-6E3B-4D85-BA02-8D6F5065EA89}" dt="2024-06-05T17:57:36.566" v="146"/>
          <ac:spMkLst>
            <pc:docMk/>
            <pc:sldMk cId="1903397118" sldId="5004"/>
            <ac:spMk id="375" creationId="{4E7EEB75-ABD9-6DEC-0830-0E055C516EE0}"/>
          </ac:spMkLst>
        </pc:spChg>
        <pc:spChg chg="mod">
          <ac:chgData name="Jacob, Karen (SPAC/PSPC) (elle-la / she-her)" userId="66e9cce0-e37b-4645-a907-f7690bd68dfb" providerId="ADAL" clId="{871AC57A-6E3B-4D85-BA02-8D6F5065EA89}" dt="2024-06-05T17:57:36.566" v="146"/>
          <ac:spMkLst>
            <pc:docMk/>
            <pc:sldMk cId="1903397118" sldId="5004"/>
            <ac:spMk id="376" creationId="{3D976C06-C00B-7EA9-4DAD-4785E81139F7}"/>
          </ac:spMkLst>
        </pc:spChg>
        <pc:spChg chg="mod">
          <ac:chgData name="Jacob, Karen (SPAC/PSPC) (elle-la / she-her)" userId="66e9cce0-e37b-4645-a907-f7690bd68dfb" providerId="ADAL" clId="{871AC57A-6E3B-4D85-BA02-8D6F5065EA89}" dt="2024-06-05T17:57:36.566" v="146"/>
          <ac:spMkLst>
            <pc:docMk/>
            <pc:sldMk cId="1903397118" sldId="5004"/>
            <ac:spMk id="377" creationId="{19D81DD1-5165-AE78-31DC-EF11695F47CE}"/>
          </ac:spMkLst>
        </pc:spChg>
        <pc:spChg chg="mod">
          <ac:chgData name="Jacob, Karen (SPAC/PSPC) (elle-la / she-her)" userId="66e9cce0-e37b-4645-a907-f7690bd68dfb" providerId="ADAL" clId="{871AC57A-6E3B-4D85-BA02-8D6F5065EA89}" dt="2024-06-05T17:57:36.566" v="146"/>
          <ac:spMkLst>
            <pc:docMk/>
            <pc:sldMk cId="1903397118" sldId="5004"/>
            <ac:spMk id="378" creationId="{C4120741-DFBE-786C-57C7-5693E112FC2D}"/>
          </ac:spMkLst>
        </pc:spChg>
        <pc:spChg chg="mod">
          <ac:chgData name="Jacob, Karen (SPAC/PSPC) (elle-la / she-her)" userId="66e9cce0-e37b-4645-a907-f7690bd68dfb" providerId="ADAL" clId="{871AC57A-6E3B-4D85-BA02-8D6F5065EA89}" dt="2024-06-05T17:57:36.566" v="146"/>
          <ac:spMkLst>
            <pc:docMk/>
            <pc:sldMk cId="1903397118" sldId="5004"/>
            <ac:spMk id="379" creationId="{C45C0B17-742E-1669-9042-3D78A83E5F50}"/>
          </ac:spMkLst>
        </pc:spChg>
        <pc:spChg chg="mod">
          <ac:chgData name="Jacob, Karen (SPAC/PSPC) (elle-la / she-her)" userId="66e9cce0-e37b-4645-a907-f7690bd68dfb" providerId="ADAL" clId="{871AC57A-6E3B-4D85-BA02-8D6F5065EA89}" dt="2024-06-05T17:57:36.566" v="146"/>
          <ac:spMkLst>
            <pc:docMk/>
            <pc:sldMk cId="1903397118" sldId="5004"/>
            <ac:spMk id="380" creationId="{3D47252D-FCBF-2BA2-5325-1C9B9D393FC0}"/>
          </ac:spMkLst>
        </pc:spChg>
        <pc:spChg chg="mod">
          <ac:chgData name="Jacob, Karen (SPAC/PSPC) (elle-la / she-her)" userId="66e9cce0-e37b-4645-a907-f7690bd68dfb" providerId="ADAL" clId="{871AC57A-6E3B-4D85-BA02-8D6F5065EA89}" dt="2024-06-05T17:57:36.566" v="146"/>
          <ac:spMkLst>
            <pc:docMk/>
            <pc:sldMk cId="1903397118" sldId="5004"/>
            <ac:spMk id="381" creationId="{FF51663F-8611-3EDA-6664-BF04A12A4277}"/>
          </ac:spMkLst>
        </pc:spChg>
        <pc:spChg chg="mod">
          <ac:chgData name="Jacob, Karen (SPAC/PSPC) (elle-la / she-her)" userId="66e9cce0-e37b-4645-a907-f7690bd68dfb" providerId="ADAL" clId="{871AC57A-6E3B-4D85-BA02-8D6F5065EA89}" dt="2024-06-05T17:57:36.566" v="146"/>
          <ac:spMkLst>
            <pc:docMk/>
            <pc:sldMk cId="1903397118" sldId="5004"/>
            <ac:spMk id="382" creationId="{D09C5E15-DC31-9DCC-4EF2-4F5E0786C8C9}"/>
          </ac:spMkLst>
        </pc:spChg>
        <pc:spChg chg="mod">
          <ac:chgData name="Jacob, Karen (SPAC/PSPC) (elle-la / she-her)" userId="66e9cce0-e37b-4645-a907-f7690bd68dfb" providerId="ADAL" clId="{871AC57A-6E3B-4D85-BA02-8D6F5065EA89}" dt="2024-06-05T17:57:36.566" v="146"/>
          <ac:spMkLst>
            <pc:docMk/>
            <pc:sldMk cId="1903397118" sldId="5004"/>
            <ac:spMk id="383" creationId="{9298A53B-C8C6-047D-02EF-08FE38538373}"/>
          </ac:spMkLst>
        </pc:spChg>
        <pc:spChg chg="mod">
          <ac:chgData name="Jacob, Karen (SPAC/PSPC) (elle-la / she-her)" userId="66e9cce0-e37b-4645-a907-f7690bd68dfb" providerId="ADAL" clId="{871AC57A-6E3B-4D85-BA02-8D6F5065EA89}" dt="2024-06-05T17:57:36.566" v="146"/>
          <ac:spMkLst>
            <pc:docMk/>
            <pc:sldMk cId="1903397118" sldId="5004"/>
            <ac:spMk id="384" creationId="{85B837AB-46E3-E2BA-439C-DD1AEA0EB5F5}"/>
          </ac:spMkLst>
        </pc:spChg>
        <pc:spChg chg="mod">
          <ac:chgData name="Jacob, Karen (SPAC/PSPC) (elle-la / she-her)" userId="66e9cce0-e37b-4645-a907-f7690bd68dfb" providerId="ADAL" clId="{871AC57A-6E3B-4D85-BA02-8D6F5065EA89}" dt="2024-06-05T17:57:36.566" v="146"/>
          <ac:spMkLst>
            <pc:docMk/>
            <pc:sldMk cId="1903397118" sldId="5004"/>
            <ac:spMk id="385" creationId="{45BE4A4F-3B5B-51EE-2455-B6DBB4CEF4CD}"/>
          </ac:spMkLst>
        </pc:spChg>
        <pc:spChg chg="mod">
          <ac:chgData name="Jacob, Karen (SPAC/PSPC) (elle-la / she-her)" userId="66e9cce0-e37b-4645-a907-f7690bd68dfb" providerId="ADAL" clId="{871AC57A-6E3B-4D85-BA02-8D6F5065EA89}" dt="2024-06-05T17:57:36.566" v="146"/>
          <ac:spMkLst>
            <pc:docMk/>
            <pc:sldMk cId="1903397118" sldId="5004"/>
            <ac:spMk id="386" creationId="{5A0D211F-8BD8-E458-8EAD-E795B7C4E1D8}"/>
          </ac:spMkLst>
        </pc:spChg>
        <pc:spChg chg="mod">
          <ac:chgData name="Jacob, Karen (SPAC/PSPC) (elle-la / she-her)" userId="66e9cce0-e37b-4645-a907-f7690bd68dfb" providerId="ADAL" clId="{871AC57A-6E3B-4D85-BA02-8D6F5065EA89}" dt="2024-06-05T17:57:36.566" v="146"/>
          <ac:spMkLst>
            <pc:docMk/>
            <pc:sldMk cId="1903397118" sldId="5004"/>
            <ac:spMk id="387" creationId="{6663921C-4C5E-1FCD-78AD-277532E84D07}"/>
          </ac:spMkLst>
        </pc:spChg>
        <pc:spChg chg="mod">
          <ac:chgData name="Jacob, Karen (SPAC/PSPC) (elle-la / she-her)" userId="66e9cce0-e37b-4645-a907-f7690bd68dfb" providerId="ADAL" clId="{871AC57A-6E3B-4D85-BA02-8D6F5065EA89}" dt="2024-06-05T17:57:36.566" v="146"/>
          <ac:spMkLst>
            <pc:docMk/>
            <pc:sldMk cId="1903397118" sldId="5004"/>
            <ac:spMk id="388" creationId="{518FCC8B-60FF-C916-BEFC-CE5E0B8A83F4}"/>
          </ac:spMkLst>
        </pc:spChg>
        <pc:spChg chg="mod">
          <ac:chgData name="Jacob, Karen (SPAC/PSPC) (elle-la / she-her)" userId="66e9cce0-e37b-4645-a907-f7690bd68dfb" providerId="ADAL" clId="{871AC57A-6E3B-4D85-BA02-8D6F5065EA89}" dt="2024-06-05T17:57:36.566" v="146"/>
          <ac:spMkLst>
            <pc:docMk/>
            <pc:sldMk cId="1903397118" sldId="5004"/>
            <ac:spMk id="389" creationId="{6879F53E-61A9-63D8-C95B-DA6061DCF694}"/>
          </ac:spMkLst>
        </pc:spChg>
        <pc:spChg chg="mod">
          <ac:chgData name="Jacob, Karen (SPAC/PSPC) (elle-la / she-her)" userId="66e9cce0-e37b-4645-a907-f7690bd68dfb" providerId="ADAL" clId="{871AC57A-6E3B-4D85-BA02-8D6F5065EA89}" dt="2024-06-05T17:57:36.566" v="146"/>
          <ac:spMkLst>
            <pc:docMk/>
            <pc:sldMk cId="1903397118" sldId="5004"/>
            <ac:spMk id="390" creationId="{930E5757-296C-D2F4-8314-2E307AEB1C84}"/>
          </ac:spMkLst>
        </pc:spChg>
        <pc:spChg chg="mod">
          <ac:chgData name="Jacob, Karen (SPAC/PSPC) (elle-la / she-her)" userId="66e9cce0-e37b-4645-a907-f7690bd68dfb" providerId="ADAL" clId="{871AC57A-6E3B-4D85-BA02-8D6F5065EA89}" dt="2024-06-05T17:57:36.566" v="146"/>
          <ac:spMkLst>
            <pc:docMk/>
            <pc:sldMk cId="1903397118" sldId="5004"/>
            <ac:spMk id="391" creationId="{70646DC3-1C19-8FFC-F24A-6A71A5DAE76E}"/>
          </ac:spMkLst>
        </pc:spChg>
        <pc:spChg chg="mod">
          <ac:chgData name="Jacob, Karen (SPAC/PSPC) (elle-la / she-her)" userId="66e9cce0-e37b-4645-a907-f7690bd68dfb" providerId="ADAL" clId="{871AC57A-6E3B-4D85-BA02-8D6F5065EA89}" dt="2024-06-05T17:57:36.566" v="146"/>
          <ac:spMkLst>
            <pc:docMk/>
            <pc:sldMk cId="1903397118" sldId="5004"/>
            <ac:spMk id="392" creationId="{F964AA4D-DC98-DA26-98AF-B8BB688C7E92}"/>
          </ac:spMkLst>
        </pc:spChg>
        <pc:spChg chg="mod">
          <ac:chgData name="Jacob, Karen (SPAC/PSPC) (elle-la / she-her)" userId="66e9cce0-e37b-4645-a907-f7690bd68dfb" providerId="ADAL" clId="{871AC57A-6E3B-4D85-BA02-8D6F5065EA89}" dt="2024-06-05T17:57:36.566" v="146"/>
          <ac:spMkLst>
            <pc:docMk/>
            <pc:sldMk cId="1903397118" sldId="5004"/>
            <ac:spMk id="393" creationId="{6290A588-0896-14F6-7D56-0CE8FFED4B04}"/>
          </ac:spMkLst>
        </pc:spChg>
        <pc:spChg chg="mod">
          <ac:chgData name="Jacob, Karen (SPAC/PSPC) (elle-la / she-her)" userId="66e9cce0-e37b-4645-a907-f7690bd68dfb" providerId="ADAL" clId="{871AC57A-6E3B-4D85-BA02-8D6F5065EA89}" dt="2024-06-05T17:57:36.566" v="146"/>
          <ac:spMkLst>
            <pc:docMk/>
            <pc:sldMk cId="1903397118" sldId="5004"/>
            <ac:spMk id="394" creationId="{22D8E642-D703-55F3-BE43-44FBE7997CED}"/>
          </ac:spMkLst>
        </pc:spChg>
        <pc:spChg chg="mod">
          <ac:chgData name="Jacob, Karen (SPAC/PSPC) (elle-la / she-her)" userId="66e9cce0-e37b-4645-a907-f7690bd68dfb" providerId="ADAL" clId="{871AC57A-6E3B-4D85-BA02-8D6F5065EA89}" dt="2024-06-05T17:57:36.566" v="146"/>
          <ac:spMkLst>
            <pc:docMk/>
            <pc:sldMk cId="1903397118" sldId="5004"/>
            <ac:spMk id="396" creationId="{8E0ED31E-ECB8-357F-C7AD-0ACADA6706E8}"/>
          </ac:spMkLst>
        </pc:spChg>
        <pc:spChg chg="mod">
          <ac:chgData name="Jacob, Karen (SPAC/PSPC) (elle-la / she-her)" userId="66e9cce0-e37b-4645-a907-f7690bd68dfb" providerId="ADAL" clId="{871AC57A-6E3B-4D85-BA02-8D6F5065EA89}" dt="2024-06-05T17:57:36.566" v="146"/>
          <ac:spMkLst>
            <pc:docMk/>
            <pc:sldMk cId="1903397118" sldId="5004"/>
            <ac:spMk id="398" creationId="{F532CF84-6CE9-B670-13E5-8CE1409D90A5}"/>
          </ac:spMkLst>
        </pc:spChg>
        <pc:spChg chg="mod">
          <ac:chgData name="Jacob, Karen (SPAC/PSPC) (elle-la / she-her)" userId="66e9cce0-e37b-4645-a907-f7690bd68dfb" providerId="ADAL" clId="{871AC57A-6E3B-4D85-BA02-8D6F5065EA89}" dt="2024-06-05T17:57:36.566" v="146"/>
          <ac:spMkLst>
            <pc:docMk/>
            <pc:sldMk cId="1903397118" sldId="5004"/>
            <ac:spMk id="399" creationId="{004ED8DE-329A-FC9C-01F6-F74978F0ECBC}"/>
          </ac:spMkLst>
        </pc:spChg>
        <pc:spChg chg="mod">
          <ac:chgData name="Jacob, Karen (SPAC/PSPC) (elle-la / she-her)" userId="66e9cce0-e37b-4645-a907-f7690bd68dfb" providerId="ADAL" clId="{871AC57A-6E3B-4D85-BA02-8D6F5065EA89}" dt="2024-06-05T17:57:36.566" v="146"/>
          <ac:spMkLst>
            <pc:docMk/>
            <pc:sldMk cId="1903397118" sldId="5004"/>
            <ac:spMk id="400" creationId="{D135EEC7-337E-D80C-223D-59B355CBBA1E}"/>
          </ac:spMkLst>
        </pc:spChg>
        <pc:spChg chg="mod">
          <ac:chgData name="Jacob, Karen (SPAC/PSPC) (elle-la / she-her)" userId="66e9cce0-e37b-4645-a907-f7690bd68dfb" providerId="ADAL" clId="{871AC57A-6E3B-4D85-BA02-8D6F5065EA89}" dt="2024-06-05T17:57:36.566" v="146"/>
          <ac:spMkLst>
            <pc:docMk/>
            <pc:sldMk cId="1903397118" sldId="5004"/>
            <ac:spMk id="401" creationId="{ACF9E784-722F-8432-AD01-686BE09F401B}"/>
          </ac:spMkLst>
        </pc:spChg>
        <pc:spChg chg="mod">
          <ac:chgData name="Jacob, Karen (SPAC/PSPC) (elle-la / she-her)" userId="66e9cce0-e37b-4645-a907-f7690bd68dfb" providerId="ADAL" clId="{871AC57A-6E3B-4D85-BA02-8D6F5065EA89}" dt="2024-06-05T17:57:36.566" v="146"/>
          <ac:spMkLst>
            <pc:docMk/>
            <pc:sldMk cId="1903397118" sldId="5004"/>
            <ac:spMk id="402" creationId="{08B9A9FC-53D8-2CD5-C486-2A473EEE9741}"/>
          </ac:spMkLst>
        </pc:spChg>
        <pc:spChg chg="mod">
          <ac:chgData name="Jacob, Karen (SPAC/PSPC) (elle-la / she-her)" userId="66e9cce0-e37b-4645-a907-f7690bd68dfb" providerId="ADAL" clId="{871AC57A-6E3B-4D85-BA02-8D6F5065EA89}" dt="2024-06-05T17:57:36.566" v="146"/>
          <ac:spMkLst>
            <pc:docMk/>
            <pc:sldMk cId="1903397118" sldId="5004"/>
            <ac:spMk id="403" creationId="{3461FAA6-BCCC-F6D1-FF1D-58B773B14E64}"/>
          </ac:spMkLst>
        </pc:spChg>
        <pc:spChg chg="mod">
          <ac:chgData name="Jacob, Karen (SPAC/PSPC) (elle-la / she-her)" userId="66e9cce0-e37b-4645-a907-f7690bd68dfb" providerId="ADAL" clId="{871AC57A-6E3B-4D85-BA02-8D6F5065EA89}" dt="2024-06-05T17:57:36.566" v="146"/>
          <ac:spMkLst>
            <pc:docMk/>
            <pc:sldMk cId="1903397118" sldId="5004"/>
            <ac:spMk id="404" creationId="{75F1B132-30A1-62B6-3E22-093C65AF15BB}"/>
          </ac:spMkLst>
        </pc:spChg>
        <pc:spChg chg="mod">
          <ac:chgData name="Jacob, Karen (SPAC/PSPC) (elle-la / she-her)" userId="66e9cce0-e37b-4645-a907-f7690bd68dfb" providerId="ADAL" clId="{871AC57A-6E3B-4D85-BA02-8D6F5065EA89}" dt="2024-06-05T17:57:36.566" v="146"/>
          <ac:spMkLst>
            <pc:docMk/>
            <pc:sldMk cId="1903397118" sldId="5004"/>
            <ac:spMk id="405" creationId="{7FD378A6-345F-E2E7-D453-E655650AA393}"/>
          </ac:spMkLst>
        </pc:spChg>
        <pc:spChg chg="mod">
          <ac:chgData name="Jacob, Karen (SPAC/PSPC) (elle-la / she-her)" userId="66e9cce0-e37b-4645-a907-f7690bd68dfb" providerId="ADAL" clId="{871AC57A-6E3B-4D85-BA02-8D6F5065EA89}" dt="2024-06-05T17:57:36.566" v="146"/>
          <ac:spMkLst>
            <pc:docMk/>
            <pc:sldMk cId="1903397118" sldId="5004"/>
            <ac:spMk id="406" creationId="{DA800345-BE79-EC4D-7E58-847F894716BC}"/>
          </ac:spMkLst>
        </pc:spChg>
        <pc:spChg chg="mod">
          <ac:chgData name="Jacob, Karen (SPAC/PSPC) (elle-la / she-her)" userId="66e9cce0-e37b-4645-a907-f7690bd68dfb" providerId="ADAL" clId="{871AC57A-6E3B-4D85-BA02-8D6F5065EA89}" dt="2024-06-05T17:57:36.566" v="146"/>
          <ac:spMkLst>
            <pc:docMk/>
            <pc:sldMk cId="1903397118" sldId="5004"/>
            <ac:spMk id="407" creationId="{F15C3B30-31F6-2624-A307-CB256E41E652}"/>
          </ac:spMkLst>
        </pc:spChg>
        <pc:spChg chg="mod">
          <ac:chgData name="Jacob, Karen (SPAC/PSPC) (elle-la / she-her)" userId="66e9cce0-e37b-4645-a907-f7690bd68dfb" providerId="ADAL" clId="{871AC57A-6E3B-4D85-BA02-8D6F5065EA89}" dt="2024-06-05T17:57:36.566" v="146"/>
          <ac:spMkLst>
            <pc:docMk/>
            <pc:sldMk cId="1903397118" sldId="5004"/>
            <ac:spMk id="408" creationId="{3B7FE0F3-FD5A-F5B3-C1E1-D75DC1EF22A7}"/>
          </ac:spMkLst>
        </pc:spChg>
        <pc:spChg chg="mod">
          <ac:chgData name="Jacob, Karen (SPAC/PSPC) (elle-la / she-her)" userId="66e9cce0-e37b-4645-a907-f7690bd68dfb" providerId="ADAL" clId="{871AC57A-6E3B-4D85-BA02-8D6F5065EA89}" dt="2024-06-05T17:57:36.566" v="146"/>
          <ac:spMkLst>
            <pc:docMk/>
            <pc:sldMk cId="1903397118" sldId="5004"/>
            <ac:spMk id="409" creationId="{0FA14930-CFBB-A749-53A5-D596323ACDE3}"/>
          </ac:spMkLst>
        </pc:spChg>
        <pc:spChg chg="mod">
          <ac:chgData name="Jacob, Karen (SPAC/PSPC) (elle-la / she-her)" userId="66e9cce0-e37b-4645-a907-f7690bd68dfb" providerId="ADAL" clId="{871AC57A-6E3B-4D85-BA02-8D6F5065EA89}" dt="2024-06-05T17:57:36.566" v="146"/>
          <ac:spMkLst>
            <pc:docMk/>
            <pc:sldMk cId="1903397118" sldId="5004"/>
            <ac:spMk id="410" creationId="{A683DC47-DF7D-C873-2485-31A84F7764ED}"/>
          </ac:spMkLst>
        </pc:spChg>
        <pc:spChg chg="mod">
          <ac:chgData name="Jacob, Karen (SPAC/PSPC) (elle-la / she-her)" userId="66e9cce0-e37b-4645-a907-f7690bd68dfb" providerId="ADAL" clId="{871AC57A-6E3B-4D85-BA02-8D6F5065EA89}" dt="2024-06-05T17:57:36.566" v="146"/>
          <ac:spMkLst>
            <pc:docMk/>
            <pc:sldMk cId="1903397118" sldId="5004"/>
            <ac:spMk id="411" creationId="{AAA82E85-139B-B088-A842-3E336EA250A7}"/>
          </ac:spMkLst>
        </pc:spChg>
        <pc:spChg chg="mod">
          <ac:chgData name="Jacob, Karen (SPAC/PSPC) (elle-la / she-her)" userId="66e9cce0-e37b-4645-a907-f7690bd68dfb" providerId="ADAL" clId="{871AC57A-6E3B-4D85-BA02-8D6F5065EA89}" dt="2024-06-05T17:57:36.566" v="146"/>
          <ac:spMkLst>
            <pc:docMk/>
            <pc:sldMk cId="1903397118" sldId="5004"/>
            <ac:spMk id="412" creationId="{B672E6B1-81B6-171D-2B40-B72D7FCF608A}"/>
          </ac:spMkLst>
        </pc:spChg>
        <pc:spChg chg="mod">
          <ac:chgData name="Jacob, Karen (SPAC/PSPC) (elle-la / she-her)" userId="66e9cce0-e37b-4645-a907-f7690bd68dfb" providerId="ADAL" clId="{871AC57A-6E3B-4D85-BA02-8D6F5065EA89}" dt="2024-06-05T17:57:36.566" v="146"/>
          <ac:spMkLst>
            <pc:docMk/>
            <pc:sldMk cId="1903397118" sldId="5004"/>
            <ac:spMk id="413" creationId="{A8F8773D-1B52-7FAB-EFA5-652F8A435D63}"/>
          </ac:spMkLst>
        </pc:spChg>
        <pc:spChg chg="mod">
          <ac:chgData name="Jacob, Karen (SPAC/PSPC) (elle-la / she-her)" userId="66e9cce0-e37b-4645-a907-f7690bd68dfb" providerId="ADAL" clId="{871AC57A-6E3B-4D85-BA02-8D6F5065EA89}" dt="2024-06-05T17:57:36.566" v="146"/>
          <ac:spMkLst>
            <pc:docMk/>
            <pc:sldMk cId="1903397118" sldId="5004"/>
            <ac:spMk id="414" creationId="{CE4772F8-DC28-6D96-6773-A8919C9EB357}"/>
          </ac:spMkLst>
        </pc:spChg>
        <pc:spChg chg="mod">
          <ac:chgData name="Jacob, Karen (SPAC/PSPC) (elle-la / she-her)" userId="66e9cce0-e37b-4645-a907-f7690bd68dfb" providerId="ADAL" clId="{871AC57A-6E3B-4D85-BA02-8D6F5065EA89}" dt="2024-06-05T17:57:36.566" v="146"/>
          <ac:spMkLst>
            <pc:docMk/>
            <pc:sldMk cId="1903397118" sldId="5004"/>
            <ac:spMk id="415" creationId="{16C8AEFA-31E6-F477-E922-D1826D11EEF2}"/>
          </ac:spMkLst>
        </pc:spChg>
        <pc:spChg chg="mod">
          <ac:chgData name="Jacob, Karen (SPAC/PSPC) (elle-la / she-her)" userId="66e9cce0-e37b-4645-a907-f7690bd68dfb" providerId="ADAL" clId="{871AC57A-6E3B-4D85-BA02-8D6F5065EA89}" dt="2024-06-05T17:57:36.566" v="146"/>
          <ac:spMkLst>
            <pc:docMk/>
            <pc:sldMk cId="1903397118" sldId="5004"/>
            <ac:spMk id="416" creationId="{02E11AF2-7511-D94F-500A-C73C85791688}"/>
          </ac:spMkLst>
        </pc:spChg>
        <pc:spChg chg="mod">
          <ac:chgData name="Jacob, Karen (SPAC/PSPC) (elle-la / she-her)" userId="66e9cce0-e37b-4645-a907-f7690bd68dfb" providerId="ADAL" clId="{871AC57A-6E3B-4D85-BA02-8D6F5065EA89}" dt="2024-06-05T17:57:36.566" v="146"/>
          <ac:spMkLst>
            <pc:docMk/>
            <pc:sldMk cId="1903397118" sldId="5004"/>
            <ac:spMk id="417" creationId="{EC4089EF-1F0A-EBC1-6E7F-94C8DF4E8FE5}"/>
          </ac:spMkLst>
        </pc:spChg>
        <pc:spChg chg="mod">
          <ac:chgData name="Jacob, Karen (SPAC/PSPC) (elle-la / she-her)" userId="66e9cce0-e37b-4645-a907-f7690bd68dfb" providerId="ADAL" clId="{871AC57A-6E3B-4D85-BA02-8D6F5065EA89}" dt="2024-06-05T17:57:36.566" v="146"/>
          <ac:spMkLst>
            <pc:docMk/>
            <pc:sldMk cId="1903397118" sldId="5004"/>
            <ac:spMk id="418" creationId="{8E573EF2-2B10-9683-B462-AD2433C53499}"/>
          </ac:spMkLst>
        </pc:spChg>
        <pc:spChg chg="mod">
          <ac:chgData name="Jacob, Karen (SPAC/PSPC) (elle-la / she-her)" userId="66e9cce0-e37b-4645-a907-f7690bd68dfb" providerId="ADAL" clId="{871AC57A-6E3B-4D85-BA02-8D6F5065EA89}" dt="2024-06-05T17:57:36.566" v="146"/>
          <ac:spMkLst>
            <pc:docMk/>
            <pc:sldMk cId="1903397118" sldId="5004"/>
            <ac:spMk id="419" creationId="{A20A6F5F-6BDA-66DC-E0FE-08D7E901BA8D}"/>
          </ac:spMkLst>
        </pc:spChg>
        <pc:spChg chg="mod">
          <ac:chgData name="Jacob, Karen (SPAC/PSPC) (elle-la / she-her)" userId="66e9cce0-e37b-4645-a907-f7690bd68dfb" providerId="ADAL" clId="{871AC57A-6E3B-4D85-BA02-8D6F5065EA89}" dt="2024-06-05T17:57:36.566" v="146"/>
          <ac:spMkLst>
            <pc:docMk/>
            <pc:sldMk cId="1903397118" sldId="5004"/>
            <ac:spMk id="420" creationId="{706670F8-D9F9-400C-B04F-D3D9EE3761B2}"/>
          </ac:spMkLst>
        </pc:spChg>
        <pc:spChg chg="mod">
          <ac:chgData name="Jacob, Karen (SPAC/PSPC) (elle-la / she-her)" userId="66e9cce0-e37b-4645-a907-f7690bd68dfb" providerId="ADAL" clId="{871AC57A-6E3B-4D85-BA02-8D6F5065EA89}" dt="2024-06-05T17:57:36.566" v="146"/>
          <ac:spMkLst>
            <pc:docMk/>
            <pc:sldMk cId="1903397118" sldId="5004"/>
            <ac:spMk id="421" creationId="{22F2DD6A-BE16-DFEE-BCF7-D2DD664C4101}"/>
          </ac:spMkLst>
        </pc:spChg>
        <pc:spChg chg="mod">
          <ac:chgData name="Jacob, Karen (SPAC/PSPC) (elle-la / she-her)" userId="66e9cce0-e37b-4645-a907-f7690bd68dfb" providerId="ADAL" clId="{871AC57A-6E3B-4D85-BA02-8D6F5065EA89}" dt="2024-06-05T17:57:36.566" v="146"/>
          <ac:spMkLst>
            <pc:docMk/>
            <pc:sldMk cId="1903397118" sldId="5004"/>
            <ac:spMk id="422" creationId="{70C573F4-DF4F-1F01-EA5A-9E5A0A947789}"/>
          </ac:spMkLst>
        </pc:spChg>
        <pc:spChg chg="mod">
          <ac:chgData name="Jacob, Karen (SPAC/PSPC) (elle-la / she-her)" userId="66e9cce0-e37b-4645-a907-f7690bd68dfb" providerId="ADAL" clId="{871AC57A-6E3B-4D85-BA02-8D6F5065EA89}" dt="2024-06-05T17:57:36.566" v="146"/>
          <ac:spMkLst>
            <pc:docMk/>
            <pc:sldMk cId="1903397118" sldId="5004"/>
            <ac:spMk id="423" creationId="{507C65E3-353E-BB81-16F9-E5FF1A4E9CA3}"/>
          </ac:spMkLst>
        </pc:spChg>
        <pc:spChg chg="mod">
          <ac:chgData name="Jacob, Karen (SPAC/PSPC) (elle-la / she-her)" userId="66e9cce0-e37b-4645-a907-f7690bd68dfb" providerId="ADAL" clId="{871AC57A-6E3B-4D85-BA02-8D6F5065EA89}" dt="2024-06-05T17:57:36.566" v="146"/>
          <ac:spMkLst>
            <pc:docMk/>
            <pc:sldMk cId="1903397118" sldId="5004"/>
            <ac:spMk id="424" creationId="{4739BC80-4515-8999-8344-132BBA3675C8}"/>
          </ac:spMkLst>
        </pc:spChg>
        <pc:spChg chg="mod">
          <ac:chgData name="Jacob, Karen (SPAC/PSPC) (elle-la / she-her)" userId="66e9cce0-e37b-4645-a907-f7690bd68dfb" providerId="ADAL" clId="{871AC57A-6E3B-4D85-BA02-8D6F5065EA89}" dt="2024-06-05T17:57:36.566" v="146"/>
          <ac:spMkLst>
            <pc:docMk/>
            <pc:sldMk cId="1903397118" sldId="5004"/>
            <ac:spMk id="425" creationId="{9754EEC3-4D23-6098-A02A-A2654628C1F3}"/>
          </ac:spMkLst>
        </pc:spChg>
        <pc:spChg chg="mod">
          <ac:chgData name="Jacob, Karen (SPAC/PSPC) (elle-la / she-her)" userId="66e9cce0-e37b-4645-a907-f7690bd68dfb" providerId="ADAL" clId="{871AC57A-6E3B-4D85-BA02-8D6F5065EA89}" dt="2024-06-05T17:57:36.566" v="146"/>
          <ac:spMkLst>
            <pc:docMk/>
            <pc:sldMk cId="1903397118" sldId="5004"/>
            <ac:spMk id="426" creationId="{8DDB8EAA-8AC0-7604-5776-72AEA67ED775}"/>
          </ac:spMkLst>
        </pc:spChg>
        <pc:spChg chg="mod">
          <ac:chgData name="Jacob, Karen (SPAC/PSPC) (elle-la / she-her)" userId="66e9cce0-e37b-4645-a907-f7690bd68dfb" providerId="ADAL" clId="{871AC57A-6E3B-4D85-BA02-8D6F5065EA89}" dt="2024-06-05T17:57:36.566" v="146"/>
          <ac:spMkLst>
            <pc:docMk/>
            <pc:sldMk cId="1903397118" sldId="5004"/>
            <ac:spMk id="427" creationId="{BD2EE1EC-4342-9775-85BD-DBC8C6A0A679}"/>
          </ac:spMkLst>
        </pc:spChg>
        <pc:spChg chg="mod">
          <ac:chgData name="Jacob, Karen (SPAC/PSPC) (elle-la / she-her)" userId="66e9cce0-e37b-4645-a907-f7690bd68dfb" providerId="ADAL" clId="{871AC57A-6E3B-4D85-BA02-8D6F5065EA89}" dt="2024-06-05T17:57:36.566" v="146"/>
          <ac:spMkLst>
            <pc:docMk/>
            <pc:sldMk cId="1903397118" sldId="5004"/>
            <ac:spMk id="428" creationId="{C8BF96CB-EE5F-C5D0-7343-FE91BF7EF8DF}"/>
          </ac:spMkLst>
        </pc:spChg>
        <pc:spChg chg="mod">
          <ac:chgData name="Jacob, Karen (SPAC/PSPC) (elle-la / she-her)" userId="66e9cce0-e37b-4645-a907-f7690bd68dfb" providerId="ADAL" clId="{871AC57A-6E3B-4D85-BA02-8D6F5065EA89}" dt="2024-06-05T17:57:36.566" v="146"/>
          <ac:spMkLst>
            <pc:docMk/>
            <pc:sldMk cId="1903397118" sldId="5004"/>
            <ac:spMk id="429" creationId="{3DC21C37-84B4-4D3D-8870-0B31D6D58468}"/>
          </ac:spMkLst>
        </pc:spChg>
        <pc:spChg chg="mod">
          <ac:chgData name="Jacob, Karen (SPAC/PSPC) (elle-la / she-her)" userId="66e9cce0-e37b-4645-a907-f7690bd68dfb" providerId="ADAL" clId="{871AC57A-6E3B-4D85-BA02-8D6F5065EA89}" dt="2024-06-05T17:57:36.566" v="146"/>
          <ac:spMkLst>
            <pc:docMk/>
            <pc:sldMk cId="1903397118" sldId="5004"/>
            <ac:spMk id="430" creationId="{1CADE64F-72BC-36B9-D47E-D73C35F65AA7}"/>
          </ac:spMkLst>
        </pc:spChg>
        <pc:spChg chg="mod">
          <ac:chgData name="Jacob, Karen (SPAC/PSPC) (elle-la / she-her)" userId="66e9cce0-e37b-4645-a907-f7690bd68dfb" providerId="ADAL" clId="{871AC57A-6E3B-4D85-BA02-8D6F5065EA89}" dt="2024-06-05T17:57:36.566" v="146"/>
          <ac:spMkLst>
            <pc:docMk/>
            <pc:sldMk cId="1903397118" sldId="5004"/>
            <ac:spMk id="431" creationId="{6D671A18-7D41-6642-9F61-C54A7DF9FC38}"/>
          </ac:spMkLst>
        </pc:spChg>
        <pc:spChg chg="mod">
          <ac:chgData name="Jacob, Karen (SPAC/PSPC) (elle-la / she-her)" userId="66e9cce0-e37b-4645-a907-f7690bd68dfb" providerId="ADAL" clId="{871AC57A-6E3B-4D85-BA02-8D6F5065EA89}" dt="2024-06-05T17:57:36.566" v="146"/>
          <ac:spMkLst>
            <pc:docMk/>
            <pc:sldMk cId="1903397118" sldId="5004"/>
            <ac:spMk id="432" creationId="{CEA2FBFB-C57B-AE17-167F-D9EF7028C75E}"/>
          </ac:spMkLst>
        </pc:spChg>
        <pc:spChg chg="mod">
          <ac:chgData name="Jacob, Karen (SPAC/PSPC) (elle-la / she-her)" userId="66e9cce0-e37b-4645-a907-f7690bd68dfb" providerId="ADAL" clId="{871AC57A-6E3B-4D85-BA02-8D6F5065EA89}" dt="2024-06-05T17:57:36.566" v="146"/>
          <ac:spMkLst>
            <pc:docMk/>
            <pc:sldMk cId="1903397118" sldId="5004"/>
            <ac:spMk id="433" creationId="{774E6F06-1ECD-D017-E602-ECD947392526}"/>
          </ac:spMkLst>
        </pc:spChg>
        <pc:spChg chg="mod">
          <ac:chgData name="Jacob, Karen (SPAC/PSPC) (elle-la / she-her)" userId="66e9cce0-e37b-4645-a907-f7690bd68dfb" providerId="ADAL" clId="{871AC57A-6E3B-4D85-BA02-8D6F5065EA89}" dt="2024-06-05T17:57:36.566" v="146"/>
          <ac:spMkLst>
            <pc:docMk/>
            <pc:sldMk cId="1903397118" sldId="5004"/>
            <ac:spMk id="434" creationId="{23E79F64-CE0F-B583-1D2E-32AE9002121C}"/>
          </ac:spMkLst>
        </pc:spChg>
        <pc:spChg chg="mod">
          <ac:chgData name="Jacob, Karen (SPAC/PSPC) (elle-la / she-her)" userId="66e9cce0-e37b-4645-a907-f7690bd68dfb" providerId="ADAL" clId="{871AC57A-6E3B-4D85-BA02-8D6F5065EA89}" dt="2024-06-05T17:57:36.566" v="146"/>
          <ac:spMkLst>
            <pc:docMk/>
            <pc:sldMk cId="1903397118" sldId="5004"/>
            <ac:spMk id="435" creationId="{2A1513E5-EE06-09F3-7542-CBF238883836}"/>
          </ac:spMkLst>
        </pc:spChg>
        <pc:spChg chg="mod">
          <ac:chgData name="Jacob, Karen (SPAC/PSPC) (elle-la / she-her)" userId="66e9cce0-e37b-4645-a907-f7690bd68dfb" providerId="ADAL" clId="{871AC57A-6E3B-4D85-BA02-8D6F5065EA89}" dt="2024-06-05T17:57:36.566" v="146"/>
          <ac:spMkLst>
            <pc:docMk/>
            <pc:sldMk cId="1903397118" sldId="5004"/>
            <ac:spMk id="436" creationId="{2F291647-9054-E103-D387-1FF611A2EC22}"/>
          </ac:spMkLst>
        </pc:spChg>
        <pc:spChg chg="mod">
          <ac:chgData name="Jacob, Karen (SPAC/PSPC) (elle-la / she-her)" userId="66e9cce0-e37b-4645-a907-f7690bd68dfb" providerId="ADAL" clId="{871AC57A-6E3B-4D85-BA02-8D6F5065EA89}" dt="2024-06-05T17:57:36.566" v="146"/>
          <ac:spMkLst>
            <pc:docMk/>
            <pc:sldMk cId="1903397118" sldId="5004"/>
            <ac:spMk id="437" creationId="{10930654-5913-1124-DCF0-AA18BC2B28E5}"/>
          </ac:spMkLst>
        </pc:spChg>
        <pc:spChg chg="add mod">
          <ac:chgData name="Jacob, Karen (SPAC/PSPC) (elle-la / she-her)" userId="66e9cce0-e37b-4645-a907-f7690bd68dfb" providerId="ADAL" clId="{871AC57A-6E3B-4D85-BA02-8D6F5065EA89}" dt="2024-06-05T17:57:36.566" v="146"/>
          <ac:spMkLst>
            <pc:docMk/>
            <pc:sldMk cId="1903397118" sldId="5004"/>
            <ac:spMk id="438" creationId="{2DE5F08E-29BE-2F61-31DC-7D58A658F1A9}"/>
          </ac:spMkLst>
        </pc:spChg>
        <pc:spChg chg="mod">
          <ac:chgData name="Jacob, Karen (SPAC/PSPC) (elle-la / she-her)" userId="66e9cce0-e37b-4645-a907-f7690bd68dfb" providerId="ADAL" clId="{871AC57A-6E3B-4D85-BA02-8D6F5065EA89}" dt="2024-06-05T17:57:36.566" v="146"/>
          <ac:spMkLst>
            <pc:docMk/>
            <pc:sldMk cId="1903397118" sldId="5004"/>
            <ac:spMk id="441" creationId="{1F4190D5-0A9C-64F5-E6F7-292F12C864B5}"/>
          </ac:spMkLst>
        </pc:spChg>
        <pc:spChg chg="mod">
          <ac:chgData name="Jacob, Karen (SPAC/PSPC) (elle-la / she-her)" userId="66e9cce0-e37b-4645-a907-f7690bd68dfb" providerId="ADAL" clId="{871AC57A-6E3B-4D85-BA02-8D6F5065EA89}" dt="2024-06-05T17:57:36.566" v="146"/>
          <ac:spMkLst>
            <pc:docMk/>
            <pc:sldMk cId="1903397118" sldId="5004"/>
            <ac:spMk id="442" creationId="{185DAD69-88CC-B0B9-14AD-9491ABD4B19A}"/>
          </ac:spMkLst>
        </pc:spChg>
        <pc:spChg chg="mod">
          <ac:chgData name="Jacob, Karen (SPAC/PSPC) (elle-la / she-her)" userId="66e9cce0-e37b-4645-a907-f7690bd68dfb" providerId="ADAL" clId="{871AC57A-6E3B-4D85-BA02-8D6F5065EA89}" dt="2024-06-05T17:57:36.566" v="146"/>
          <ac:spMkLst>
            <pc:docMk/>
            <pc:sldMk cId="1903397118" sldId="5004"/>
            <ac:spMk id="443" creationId="{453F8936-09E6-0B41-342C-95821CB950BD}"/>
          </ac:spMkLst>
        </pc:spChg>
        <pc:spChg chg="mod">
          <ac:chgData name="Jacob, Karen (SPAC/PSPC) (elle-la / she-her)" userId="66e9cce0-e37b-4645-a907-f7690bd68dfb" providerId="ADAL" clId="{871AC57A-6E3B-4D85-BA02-8D6F5065EA89}" dt="2024-06-05T17:57:36.566" v="146"/>
          <ac:spMkLst>
            <pc:docMk/>
            <pc:sldMk cId="1903397118" sldId="5004"/>
            <ac:spMk id="444" creationId="{C8740702-FD8E-981C-BBDE-0B9DD50C90BF}"/>
          </ac:spMkLst>
        </pc:spChg>
        <pc:spChg chg="mod">
          <ac:chgData name="Jacob, Karen (SPAC/PSPC) (elle-la / she-her)" userId="66e9cce0-e37b-4645-a907-f7690bd68dfb" providerId="ADAL" clId="{871AC57A-6E3B-4D85-BA02-8D6F5065EA89}" dt="2024-06-05T17:57:36.566" v="146"/>
          <ac:spMkLst>
            <pc:docMk/>
            <pc:sldMk cId="1903397118" sldId="5004"/>
            <ac:spMk id="445" creationId="{81347A78-1DF1-0AA7-73C7-B8E4F7581DF7}"/>
          </ac:spMkLst>
        </pc:spChg>
        <pc:spChg chg="add mod">
          <ac:chgData name="Jacob, Karen (SPAC/PSPC) (elle-la / she-her)" userId="66e9cce0-e37b-4645-a907-f7690bd68dfb" providerId="ADAL" clId="{871AC57A-6E3B-4D85-BA02-8D6F5065EA89}" dt="2024-06-05T17:57:36.566" v="146"/>
          <ac:spMkLst>
            <pc:docMk/>
            <pc:sldMk cId="1903397118" sldId="5004"/>
            <ac:spMk id="446" creationId="{EBB694C5-6E0A-CB29-0BD4-3274CC17BB0D}"/>
          </ac:spMkLst>
        </pc:spChg>
        <pc:grpChg chg="add mod">
          <ac:chgData name="Jacob, Karen (SPAC/PSPC) (elle-la / she-her)" userId="66e9cce0-e37b-4645-a907-f7690bd68dfb" providerId="ADAL" clId="{871AC57A-6E3B-4D85-BA02-8D6F5065EA89}" dt="2024-06-05T17:57:36.566" v="146"/>
          <ac:grpSpMkLst>
            <pc:docMk/>
            <pc:sldMk cId="1903397118" sldId="5004"/>
            <ac:grpSpMk id="4" creationId="{2D9CC1AA-2B60-5726-2572-F2BAB00E0AEC}"/>
          </ac:grpSpMkLst>
        </pc:grpChg>
        <pc:grpChg chg="add mod">
          <ac:chgData name="Jacob, Karen (SPAC/PSPC) (elle-la / she-her)" userId="66e9cce0-e37b-4645-a907-f7690bd68dfb" providerId="ADAL" clId="{871AC57A-6E3B-4D85-BA02-8D6F5065EA89}" dt="2024-06-05T17:57:36.566" v="146"/>
          <ac:grpSpMkLst>
            <pc:docMk/>
            <pc:sldMk cId="1903397118" sldId="5004"/>
            <ac:grpSpMk id="7" creationId="{7394FCD1-7545-C292-695B-16209F7B9C92}"/>
          </ac:grpSpMkLst>
        </pc:grpChg>
        <pc:grpChg chg="add mod">
          <ac:chgData name="Jacob, Karen (SPAC/PSPC) (elle-la / she-her)" userId="66e9cce0-e37b-4645-a907-f7690bd68dfb" providerId="ADAL" clId="{871AC57A-6E3B-4D85-BA02-8D6F5065EA89}" dt="2024-06-05T17:57:36.566" v="146"/>
          <ac:grpSpMkLst>
            <pc:docMk/>
            <pc:sldMk cId="1903397118" sldId="5004"/>
            <ac:grpSpMk id="12" creationId="{03CC5851-A15F-4B14-72BA-369E1483E174}"/>
          </ac:grpSpMkLst>
        </pc:grpChg>
        <pc:grpChg chg="mod">
          <ac:chgData name="Jacob, Karen (SPAC/PSPC) (elle-la / she-her)" userId="66e9cce0-e37b-4645-a907-f7690bd68dfb" providerId="ADAL" clId="{871AC57A-6E3B-4D85-BA02-8D6F5065EA89}" dt="2024-06-05T17:57:36.566" v="146"/>
          <ac:grpSpMkLst>
            <pc:docMk/>
            <pc:sldMk cId="1903397118" sldId="5004"/>
            <ac:grpSpMk id="14" creationId="{7FD756D3-C161-8437-ACAB-2C780A0240BC}"/>
          </ac:grpSpMkLst>
        </pc:grpChg>
        <pc:grpChg chg="mod">
          <ac:chgData name="Jacob, Karen (SPAC/PSPC) (elle-la / she-her)" userId="66e9cce0-e37b-4645-a907-f7690bd68dfb" providerId="ADAL" clId="{871AC57A-6E3B-4D85-BA02-8D6F5065EA89}" dt="2024-06-05T17:57:36.566" v="146"/>
          <ac:grpSpMkLst>
            <pc:docMk/>
            <pc:sldMk cId="1903397118" sldId="5004"/>
            <ac:grpSpMk id="15" creationId="{C271B44C-093C-96C5-9BD0-841DE024B0C5}"/>
          </ac:grpSpMkLst>
        </pc:grpChg>
        <pc:grpChg chg="mod">
          <ac:chgData name="Jacob, Karen (SPAC/PSPC) (elle-la / she-her)" userId="66e9cce0-e37b-4645-a907-f7690bd68dfb" providerId="ADAL" clId="{871AC57A-6E3B-4D85-BA02-8D6F5065EA89}" dt="2024-06-05T17:57:36.566" v="146"/>
          <ac:grpSpMkLst>
            <pc:docMk/>
            <pc:sldMk cId="1903397118" sldId="5004"/>
            <ac:grpSpMk id="16" creationId="{712B8CD1-D44A-EA92-0EFB-EB10486681B1}"/>
          </ac:grpSpMkLst>
        </pc:grpChg>
        <pc:grpChg chg="mod">
          <ac:chgData name="Jacob, Karen (SPAC/PSPC) (elle-la / she-her)" userId="66e9cce0-e37b-4645-a907-f7690bd68dfb" providerId="ADAL" clId="{871AC57A-6E3B-4D85-BA02-8D6F5065EA89}" dt="2024-06-05T17:57:36.566" v="146"/>
          <ac:grpSpMkLst>
            <pc:docMk/>
            <pc:sldMk cId="1903397118" sldId="5004"/>
            <ac:grpSpMk id="17" creationId="{413D1400-D5B9-BC9B-4236-436DAD917E3F}"/>
          </ac:grpSpMkLst>
        </pc:grpChg>
        <pc:grpChg chg="mod">
          <ac:chgData name="Jacob, Karen (SPAC/PSPC) (elle-la / she-her)" userId="66e9cce0-e37b-4645-a907-f7690bd68dfb" providerId="ADAL" clId="{871AC57A-6E3B-4D85-BA02-8D6F5065EA89}" dt="2024-06-05T17:57:36.566" v="146"/>
          <ac:grpSpMkLst>
            <pc:docMk/>
            <pc:sldMk cId="1903397118" sldId="5004"/>
            <ac:grpSpMk id="25" creationId="{88C61A2C-F87A-0382-CAD6-DD4038C8D14F}"/>
          </ac:grpSpMkLst>
        </pc:grpChg>
        <pc:grpChg chg="mod">
          <ac:chgData name="Jacob, Karen (SPAC/PSPC) (elle-la / she-her)" userId="66e9cce0-e37b-4645-a907-f7690bd68dfb" providerId="ADAL" clId="{871AC57A-6E3B-4D85-BA02-8D6F5065EA89}" dt="2024-06-05T17:57:36.566" v="146"/>
          <ac:grpSpMkLst>
            <pc:docMk/>
            <pc:sldMk cId="1903397118" sldId="5004"/>
            <ac:grpSpMk id="68" creationId="{8D012504-8C0C-F7BC-7281-613E0DDC1A79}"/>
          </ac:grpSpMkLst>
        </pc:grpChg>
        <pc:grpChg chg="mod">
          <ac:chgData name="Jacob, Karen (SPAC/PSPC) (elle-la / she-her)" userId="66e9cce0-e37b-4645-a907-f7690bd68dfb" providerId="ADAL" clId="{871AC57A-6E3B-4D85-BA02-8D6F5065EA89}" dt="2024-06-05T17:57:36.566" v="146"/>
          <ac:grpSpMkLst>
            <pc:docMk/>
            <pc:sldMk cId="1903397118" sldId="5004"/>
            <ac:grpSpMk id="112" creationId="{89E4DEA2-F517-1167-DD55-DC87F80355BE}"/>
          </ac:grpSpMkLst>
        </pc:grpChg>
        <pc:grpChg chg="mod">
          <ac:chgData name="Jacob, Karen (SPAC/PSPC) (elle-la / she-her)" userId="66e9cce0-e37b-4645-a907-f7690bd68dfb" providerId="ADAL" clId="{871AC57A-6E3B-4D85-BA02-8D6F5065EA89}" dt="2024-06-05T17:57:36.566" v="146"/>
          <ac:grpSpMkLst>
            <pc:docMk/>
            <pc:sldMk cId="1903397118" sldId="5004"/>
            <ac:grpSpMk id="115" creationId="{383D478E-2B5D-E0B3-FEDC-C91C75EAFEAF}"/>
          </ac:grpSpMkLst>
        </pc:grpChg>
        <pc:grpChg chg="mod">
          <ac:chgData name="Jacob, Karen (SPAC/PSPC) (elle-la / she-her)" userId="66e9cce0-e37b-4645-a907-f7690bd68dfb" providerId="ADAL" clId="{871AC57A-6E3B-4D85-BA02-8D6F5065EA89}" dt="2024-06-05T17:57:36.566" v="146"/>
          <ac:grpSpMkLst>
            <pc:docMk/>
            <pc:sldMk cId="1903397118" sldId="5004"/>
            <ac:grpSpMk id="117" creationId="{237CA0D0-4998-8009-AFFD-CD8FCD60E6D9}"/>
          </ac:grpSpMkLst>
        </pc:grpChg>
        <pc:grpChg chg="mod">
          <ac:chgData name="Jacob, Karen (SPAC/PSPC) (elle-la / she-her)" userId="66e9cce0-e37b-4645-a907-f7690bd68dfb" providerId="ADAL" clId="{871AC57A-6E3B-4D85-BA02-8D6F5065EA89}" dt="2024-06-05T17:57:36.566" v="146"/>
          <ac:grpSpMkLst>
            <pc:docMk/>
            <pc:sldMk cId="1903397118" sldId="5004"/>
            <ac:grpSpMk id="120" creationId="{6BDB1558-95C3-4457-5F34-8F850FE05AEA}"/>
          </ac:grpSpMkLst>
        </pc:grpChg>
        <pc:grpChg chg="add mod">
          <ac:chgData name="Jacob, Karen (SPAC/PSPC) (elle-la / she-her)" userId="66e9cce0-e37b-4645-a907-f7690bd68dfb" providerId="ADAL" clId="{871AC57A-6E3B-4D85-BA02-8D6F5065EA89}" dt="2024-06-05T17:57:36.566" v="146"/>
          <ac:grpSpMkLst>
            <pc:docMk/>
            <pc:sldMk cId="1903397118" sldId="5004"/>
            <ac:grpSpMk id="165" creationId="{04BFAFDE-390B-7E70-D97E-DA9E5B2A24FD}"/>
          </ac:grpSpMkLst>
        </pc:grpChg>
        <pc:grpChg chg="mod">
          <ac:chgData name="Jacob, Karen (SPAC/PSPC) (elle-la / she-her)" userId="66e9cce0-e37b-4645-a907-f7690bd68dfb" providerId="ADAL" clId="{871AC57A-6E3B-4D85-BA02-8D6F5065EA89}" dt="2024-06-05T17:57:36.566" v="146"/>
          <ac:grpSpMkLst>
            <pc:docMk/>
            <pc:sldMk cId="1903397118" sldId="5004"/>
            <ac:grpSpMk id="167" creationId="{11C2B998-6440-5A37-8D1C-FE12149AB55C}"/>
          </ac:grpSpMkLst>
        </pc:grpChg>
        <pc:grpChg chg="mod">
          <ac:chgData name="Jacob, Karen (SPAC/PSPC) (elle-la / she-her)" userId="66e9cce0-e37b-4645-a907-f7690bd68dfb" providerId="ADAL" clId="{871AC57A-6E3B-4D85-BA02-8D6F5065EA89}" dt="2024-06-05T17:57:36.566" v="146"/>
          <ac:grpSpMkLst>
            <pc:docMk/>
            <pc:sldMk cId="1903397118" sldId="5004"/>
            <ac:grpSpMk id="179" creationId="{4FC7A3C4-F44A-005A-1C3E-46375D412EA7}"/>
          </ac:grpSpMkLst>
        </pc:grpChg>
        <pc:grpChg chg="mod">
          <ac:chgData name="Jacob, Karen (SPAC/PSPC) (elle-la / she-her)" userId="66e9cce0-e37b-4645-a907-f7690bd68dfb" providerId="ADAL" clId="{871AC57A-6E3B-4D85-BA02-8D6F5065EA89}" dt="2024-06-05T17:57:36.566" v="146"/>
          <ac:grpSpMkLst>
            <pc:docMk/>
            <pc:sldMk cId="1903397118" sldId="5004"/>
            <ac:grpSpMk id="180" creationId="{70E900CE-1EC1-522F-4003-B2A235188E80}"/>
          </ac:grpSpMkLst>
        </pc:grpChg>
        <pc:grpChg chg="mod">
          <ac:chgData name="Jacob, Karen (SPAC/PSPC) (elle-la / she-her)" userId="66e9cce0-e37b-4645-a907-f7690bd68dfb" providerId="ADAL" clId="{871AC57A-6E3B-4D85-BA02-8D6F5065EA89}" dt="2024-06-05T17:57:36.566" v="146"/>
          <ac:grpSpMkLst>
            <pc:docMk/>
            <pc:sldMk cId="1903397118" sldId="5004"/>
            <ac:grpSpMk id="181" creationId="{DD4B14B2-FBBC-58CD-9BEA-E7DAF61448B0}"/>
          </ac:grpSpMkLst>
        </pc:grpChg>
        <pc:grpChg chg="mod">
          <ac:chgData name="Jacob, Karen (SPAC/PSPC) (elle-la / she-her)" userId="66e9cce0-e37b-4645-a907-f7690bd68dfb" providerId="ADAL" clId="{871AC57A-6E3B-4D85-BA02-8D6F5065EA89}" dt="2024-06-05T17:57:36.566" v="146"/>
          <ac:grpSpMkLst>
            <pc:docMk/>
            <pc:sldMk cId="1903397118" sldId="5004"/>
            <ac:grpSpMk id="187" creationId="{B432C763-4712-6301-D37D-899181F147A9}"/>
          </ac:grpSpMkLst>
        </pc:grpChg>
        <pc:grpChg chg="mod">
          <ac:chgData name="Jacob, Karen (SPAC/PSPC) (elle-la / she-her)" userId="66e9cce0-e37b-4645-a907-f7690bd68dfb" providerId="ADAL" clId="{871AC57A-6E3B-4D85-BA02-8D6F5065EA89}" dt="2024-06-05T17:57:36.566" v="146"/>
          <ac:grpSpMkLst>
            <pc:docMk/>
            <pc:sldMk cId="1903397118" sldId="5004"/>
            <ac:grpSpMk id="230" creationId="{F0F47009-54B2-967A-3448-CCB09A2C7441}"/>
          </ac:grpSpMkLst>
        </pc:grpChg>
        <pc:grpChg chg="mod">
          <ac:chgData name="Jacob, Karen (SPAC/PSPC) (elle-la / she-her)" userId="66e9cce0-e37b-4645-a907-f7690bd68dfb" providerId="ADAL" clId="{871AC57A-6E3B-4D85-BA02-8D6F5065EA89}" dt="2024-06-05T17:57:36.566" v="146"/>
          <ac:grpSpMkLst>
            <pc:docMk/>
            <pc:sldMk cId="1903397118" sldId="5004"/>
            <ac:grpSpMk id="274" creationId="{E18CC530-5A33-1961-B32D-669D857EC675}"/>
          </ac:grpSpMkLst>
        </pc:grpChg>
        <pc:grpChg chg="add mod">
          <ac:chgData name="Jacob, Karen (SPAC/PSPC) (elle-la / she-her)" userId="66e9cce0-e37b-4645-a907-f7690bd68dfb" providerId="ADAL" clId="{871AC57A-6E3B-4D85-BA02-8D6F5065EA89}" dt="2024-06-05T17:57:36.566" v="146"/>
          <ac:grpSpMkLst>
            <pc:docMk/>
            <pc:sldMk cId="1903397118" sldId="5004"/>
            <ac:grpSpMk id="319" creationId="{FC3607F8-E441-3661-16E0-38630D0E81E6}"/>
          </ac:grpSpMkLst>
        </pc:grpChg>
        <pc:grpChg chg="mod">
          <ac:chgData name="Jacob, Karen (SPAC/PSPC) (elle-la / she-her)" userId="66e9cce0-e37b-4645-a907-f7690bd68dfb" providerId="ADAL" clId="{871AC57A-6E3B-4D85-BA02-8D6F5065EA89}" dt="2024-06-05T17:57:36.566" v="146"/>
          <ac:grpSpMkLst>
            <pc:docMk/>
            <pc:sldMk cId="1903397118" sldId="5004"/>
            <ac:grpSpMk id="321" creationId="{7A532255-817D-6D74-3576-14BCDDDD1BF3}"/>
          </ac:grpSpMkLst>
        </pc:grpChg>
        <pc:grpChg chg="mod">
          <ac:chgData name="Jacob, Karen (SPAC/PSPC) (elle-la / she-her)" userId="66e9cce0-e37b-4645-a907-f7690bd68dfb" providerId="ADAL" clId="{871AC57A-6E3B-4D85-BA02-8D6F5065EA89}" dt="2024-06-05T17:57:36.566" v="146"/>
          <ac:grpSpMkLst>
            <pc:docMk/>
            <pc:sldMk cId="1903397118" sldId="5004"/>
            <ac:grpSpMk id="322" creationId="{F07A4498-120E-E487-110B-4D1978C51493}"/>
          </ac:grpSpMkLst>
        </pc:grpChg>
        <pc:grpChg chg="mod">
          <ac:chgData name="Jacob, Karen (SPAC/PSPC) (elle-la / she-her)" userId="66e9cce0-e37b-4645-a907-f7690bd68dfb" providerId="ADAL" clId="{871AC57A-6E3B-4D85-BA02-8D6F5065EA89}" dt="2024-06-05T17:57:36.566" v="146"/>
          <ac:grpSpMkLst>
            <pc:docMk/>
            <pc:sldMk cId="1903397118" sldId="5004"/>
            <ac:grpSpMk id="323" creationId="{A2B5BB8F-40A0-67AE-1B72-BEAF1AB39F63}"/>
          </ac:grpSpMkLst>
        </pc:grpChg>
        <pc:grpChg chg="mod">
          <ac:chgData name="Jacob, Karen (SPAC/PSPC) (elle-la / she-her)" userId="66e9cce0-e37b-4645-a907-f7690bd68dfb" providerId="ADAL" clId="{871AC57A-6E3B-4D85-BA02-8D6F5065EA89}" dt="2024-06-05T17:57:36.566" v="146"/>
          <ac:grpSpMkLst>
            <pc:docMk/>
            <pc:sldMk cId="1903397118" sldId="5004"/>
            <ac:grpSpMk id="337" creationId="{D494F48A-A8AB-E8DB-936B-7697C8E51D8C}"/>
          </ac:grpSpMkLst>
        </pc:grpChg>
        <pc:grpChg chg="mod">
          <ac:chgData name="Jacob, Karen (SPAC/PSPC) (elle-la / she-her)" userId="66e9cce0-e37b-4645-a907-f7690bd68dfb" providerId="ADAL" clId="{871AC57A-6E3B-4D85-BA02-8D6F5065EA89}" dt="2024-06-05T17:57:36.566" v="146"/>
          <ac:grpSpMkLst>
            <pc:docMk/>
            <pc:sldMk cId="1903397118" sldId="5004"/>
            <ac:grpSpMk id="348" creationId="{72FF984A-D969-2763-B4C3-6D2D95F74EF5}"/>
          </ac:grpSpMkLst>
        </pc:grpChg>
        <pc:grpChg chg="mod">
          <ac:chgData name="Jacob, Karen (SPAC/PSPC) (elle-la / she-her)" userId="66e9cce0-e37b-4645-a907-f7690bd68dfb" providerId="ADAL" clId="{871AC57A-6E3B-4D85-BA02-8D6F5065EA89}" dt="2024-06-05T17:57:36.566" v="146"/>
          <ac:grpSpMkLst>
            <pc:docMk/>
            <pc:sldMk cId="1903397118" sldId="5004"/>
            <ac:grpSpMk id="352" creationId="{92ACCCB7-25AF-AE44-7D97-3C5F056E7C1C}"/>
          </ac:grpSpMkLst>
        </pc:grpChg>
        <pc:grpChg chg="mod">
          <ac:chgData name="Jacob, Karen (SPAC/PSPC) (elle-la / she-her)" userId="66e9cce0-e37b-4645-a907-f7690bd68dfb" providerId="ADAL" clId="{871AC57A-6E3B-4D85-BA02-8D6F5065EA89}" dt="2024-06-05T17:57:36.566" v="146"/>
          <ac:grpSpMkLst>
            <pc:docMk/>
            <pc:sldMk cId="1903397118" sldId="5004"/>
            <ac:grpSpMk id="395" creationId="{099F3FE8-2AF6-5637-9630-35D8CD21B8AF}"/>
          </ac:grpSpMkLst>
        </pc:grpChg>
        <pc:grpChg chg="add mod">
          <ac:chgData name="Jacob, Karen (SPAC/PSPC) (elle-la / she-her)" userId="66e9cce0-e37b-4645-a907-f7690bd68dfb" providerId="ADAL" clId="{871AC57A-6E3B-4D85-BA02-8D6F5065EA89}" dt="2024-06-05T17:57:36.566" v="146"/>
          <ac:grpSpMkLst>
            <pc:docMk/>
            <pc:sldMk cId="1903397118" sldId="5004"/>
            <ac:grpSpMk id="439" creationId="{8FFAF5C0-F9EF-1403-6199-388C13B6ECAD}"/>
          </ac:grpSpMkLst>
        </pc:grpChg>
        <pc:grpChg chg="mod">
          <ac:chgData name="Jacob, Karen (SPAC/PSPC) (elle-la / she-her)" userId="66e9cce0-e37b-4645-a907-f7690bd68dfb" providerId="ADAL" clId="{871AC57A-6E3B-4D85-BA02-8D6F5065EA89}" dt="2024-06-05T17:57:36.566" v="146"/>
          <ac:grpSpMkLst>
            <pc:docMk/>
            <pc:sldMk cId="1903397118" sldId="5004"/>
            <ac:grpSpMk id="440" creationId="{18660168-DCBF-3C12-7720-62B8AC2B9068}"/>
          </ac:grpSpMkLst>
        </pc:grpChg>
        <pc:picChg chg="mod">
          <ac:chgData name="Jacob, Karen (SPAC/PSPC) (elle-la / she-her)" userId="66e9cce0-e37b-4645-a907-f7690bd68dfb" providerId="ADAL" clId="{871AC57A-6E3B-4D85-BA02-8D6F5065EA89}" dt="2024-06-05T17:57:36.566" v="146"/>
          <ac:picMkLst>
            <pc:docMk/>
            <pc:sldMk cId="1903397118" sldId="5004"/>
            <ac:picMk id="9" creationId="{3736A36E-558A-D335-E7CD-AE1870106011}"/>
          </ac:picMkLst>
        </pc:picChg>
        <pc:picChg chg="mod">
          <ac:chgData name="Jacob, Karen (SPAC/PSPC) (elle-la / she-her)" userId="66e9cce0-e37b-4645-a907-f7690bd68dfb" providerId="ADAL" clId="{871AC57A-6E3B-4D85-BA02-8D6F5065EA89}" dt="2024-06-05T17:57:36.566" v="146"/>
          <ac:picMkLst>
            <pc:docMk/>
            <pc:sldMk cId="1903397118" sldId="5004"/>
            <ac:picMk id="18" creationId="{F9BD9803-B94E-CE14-6EC5-706E35CA735F}"/>
          </ac:picMkLst>
        </pc:picChg>
        <pc:picChg chg="mod">
          <ac:chgData name="Jacob, Karen (SPAC/PSPC) (elle-la / she-her)" userId="66e9cce0-e37b-4645-a907-f7690bd68dfb" providerId="ADAL" clId="{871AC57A-6E3B-4D85-BA02-8D6F5065EA89}" dt="2024-06-05T17:57:36.566" v="146"/>
          <ac:picMkLst>
            <pc:docMk/>
            <pc:sldMk cId="1903397118" sldId="5004"/>
            <ac:picMk id="19" creationId="{AC4D6478-3C86-778C-5FA6-E69AE66CE5CC}"/>
          </ac:picMkLst>
        </pc:picChg>
        <pc:picChg chg="mod">
          <ac:chgData name="Jacob, Karen (SPAC/PSPC) (elle-la / she-her)" userId="66e9cce0-e37b-4645-a907-f7690bd68dfb" providerId="ADAL" clId="{871AC57A-6E3B-4D85-BA02-8D6F5065EA89}" dt="2024-06-05T17:57:36.566" v="146"/>
          <ac:picMkLst>
            <pc:docMk/>
            <pc:sldMk cId="1903397118" sldId="5004"/>
            <ac:picMk id="27" creationId="{09E8D147-CFA8-9093-E5A6-90E53D03B13A}"/>
          </ac:picMkLst>
        </pc:picChg>
        <pc:picChg chg="mod">
          <ac:chgData name="Jacob, Karen (SPAC/PSPC) (elle-la / she-her)" userId="66e9cce0-e37b-4645-a907-f7690bd68dfb" providerId="ADAL" clId="{871AC57A-6E3B-4D85-BA02-8D6F5065EA89}" dt="2024-06-05T17:57:36.566" v="146"/>
          <ac:picMkLst>
            <pc:docMk/>
            <pc:sldMk cId="1903397118" sldId="5004"/>
            <ac:picMk id="70" creationId="{3309BBCB-A39A-4075-C868-E7AE6926A7CB}"/>
          </ac:picMkLst>
        </pc:picChg>
        <pc:picChg chg="mod">
          <ac:chgData name="Jacob, Karen (SPAC/PSPC) (elle-la / she-her)" userId="66e9cce0-e37b-4645-a907-f7690bd68dfb" providerId="ADAL" clId="{871AC57A-6E3B-4D85-BA02-8D6F5065EA89}" dt="2024-06-05T17:57:36.566" v="146"/>
          <ac:picMkLst>
            <pc:docMk/>
            <pc:sldMk cId="1903397118" sldId="5004"/>
            <ac:picMk id="114" creationId="{0537EB5B-BC38-9D09-D933-7391546CFDFD}"/>
          </ac:picMkLst>
        </pc:picChg>
        <pc:picChg chg="mod">
          <ac:chgData name="Jacob, Karen (SPAC/PSPC) (elle-la / she-her)" userId="66e9cce0-e37b-4645-a907-f7690bd68dfb" providerId="ADAL" clId="{871AC57A-6E3B-4D85-BA02-8D6F5065EA89}" dt="2024-06-05T17:57:36.566" v="146"/>
          <ac:picMkLst>
            <pc:docMk/>
            <pc:sldMk cId="1903397118" sldId="5004"/>
            <ac:picMk id="168" creationId="{2D9D23A9-06BF-DDD4-36A1-3B4082026B0B}"/>
          </ac:picMkLst>
        </pc:picChg>
        <pc:picChg chg="mod">
          <ac:chgData name="Jacob, Karen (SPAC/PSPC) (elle-la / she-her)" userId="66e9cce0-e37b-4645-a907-f7690bd68dfb" providerId="ADAL" clId="{871AC57A-6E3B-4D85-BA02-8D6F5065EA89}" dt="2024-06-05T17:57:36.566" v="146"/>
          <ac:picMkLst>
            <pc:docMk/>
            <pc:sldMk cId="1903397118" sldId="5004"/>
            <ac:picMk id="169" creationId="{1E220B03-1EA0-9D95-40C4-602E8361E5B0}"/>
          </ac:picMkLst>
        </pc:picChg>
        <pc:picChg chg="mod">
          <ac:chgData name="Jacob, Karen (SPAC/PSPC) (elle-la / she-her)" userId="66e9cce0-e37b-4645-a907-f7690bd68dfb" providerId="ADAL" clId="{871AC57A-6E3B-4D85-BA02-8D6F5065EA89}" dt="2024-06-05T17:57:36.566" v="146"/>
          <ac:picMkLst>
            <pc:docMk/>
            <pc:sldMk cId="1903397118" sldId="5004"/>
            <ac:picMk id="170" creationId="{78205BB3-CDC0-D687-4A1A-5F1DB09A41EB}"/>
          </ac:picMkLst>
        </pc:picChg>
        <pc:picChg chg="mod">
          <ac:chgData name="Jacob, Karen (SPAC/PSPC) (elle-la / she-her)" userId="66e9cce0-e37b-4645-a907-f7690bd68dfb" providerId="ADAL" clId="{871AC57A-6E3B-4D85-BA02-8D6F5065EA89}" dt="2024-06-05T17:57:36.566" v="146"/>
          <ac:picMkLst>
            <pc:docMk/>
            <pc:sldMk cId="1903397118" sldId="5004"/>
            <ac:picMk id="171" creationId="{BD7DB332-DF09-EFAA-FDAD-947636303D6C}"/>
          </ac:picMkLst>
        </pc:picChg>
        <pc:picChg chg="mod">
          <ac:chgData name="Jacob, Karen (SPAC/PSPC) (elle-la / she-her)" userId="66e9cce0-e37b-4645-a907-f7690bd68dfb" providerId="ADAL" clId="{871AC57A-6E3B-4D85-BA02-8D6F5065EA89}" dt="2024-06-05T17:57:36.566" v="146"/>
          <ac:picMkLst>
            <pc:docMk/>
            <pc:sldMk cId="1903397118" sldId="5004"/>
            <ac:picMk id="172" creationId="{AB370EF2-83EB-25EF-0F86-00B381C5CD8E}"/>
          </ac:picMkLst>
        </pc:picChg>
        <pc:picChg chg="mod">
          <ac:chgData name="Jacob, Karen (SPAC/PSPC) (elle-la / she-her)" userId="66e9cce0-e37b-4645-a907-f7690bd68dfb" providerId="ADAL" clId="{871AC57A-6E3B-4D85-BA02-8D6F5065EA89}" dt="2024-06-05T17:57:36.566" v="146"/>
          <ac:picMkLst>
            <pc:docMk/>
            <pc:sldMk cId="1903397118" sldId="5004"/>
            <ac:picMk id="173" creationId="{7E320A76-4260-BE23-C913-A45F27D399BC}"/>
          </ac:picMkLst>
        </pc:picChg>
        <pc:picChg chg="mod">
          <ac:chgData name="Jacob, Karen (SPAC/PSPC) (elle-la / she-her)" userId="66e9cce0-e37b-4645-a907-f7690bd68dfb" providerId="ADAL" clId="{871AC57A-6E3B-4D85-BA02-8D6F5065EA89}" dt="2024-06-05T17:57:36.566" v="146"/>
          <ac:picMkLst>
            <pc:docMk/>
            <pc:sldMk cId="1903397118" sldId="5004"/>
            <ac:picMk id="174" creationId="{3A1BF91D-E0B1-7B2D-ED10-D16A08F50985}"/>
          </ac:picMkLst>
        </pc:picChg>
        <pc:picChg chg="mod">
          <ac:chgData name="Jacob, Karen (SPAC/PSPC) (elle-la / she-her)" userId="66e9cce0-e37b-4645-a907-f7690bd68dfb" providerId="ADAL" clId="{871AC57A-6E3B-4D85-BA02-8D6F5065EA89}" dt="2024-06-05T17:57:36.566" v="146"/>
          <ac:picMkLst>
            <pc:docMk/>
            <pc:sldMk cId="1903397118" sldId="5004"/>
            <ac:picMk id="175" creationId="{FD4AD78C-88E8-1E6B-1ECA-417E8CE07B3F}"/>
          </ac:picMkLst>
        </pc:picChg>
        <pc:picChg chg="mod">
          <ac:chgData name="Jacob, Karen (SPAC/PSPC) (elle-la / she-her)" userId="66e9cce0-e37b-4645-a907-f7690bd68dfb" providerId="ADAL" clId="{871AC57A-6E3B-4D85-BA02-8D6F5065EA89}" dt="2024-06-05T17:57:36.566" v="146"/>
          <ac:picMkLst>
            <pc:docMk/>
            <pc:sldMk cId="1903397118" sldId="5004"/>
            <ac:picMk id="176" creationId="{A98FF8C1-AED4-75ED-F439-4DFFF61B0153}"/>
          </ac:picMkLst>
        </pc:picChg>
        <pc:picChg chg="mod">
          <ac:chgData name="Jacob, Karen (SPAC/PSPC) (elle-la / she-her)" userId="66e9cce0-e37b-4645-a907-f7690bd68dfb" providerId="ADAL" clId="{871AC57A-6E3B-4D85-BA02-8D6F5065EA89}" dt="2024-06-05T17:57:36.566" v="146"/>
          <ac:picMkLst>
            <pc:docMk/>
            <pc:sldMk cId="1903397118" sldId="5004"/>
            <ac:picMk id="177" creationId="{2484B792-AE46-8D94-2254-2FBB6C0FB51C}"/>
          </ac:picMkLst>
        </pc:picChg>
        <pc:picChg chg="mod">
          <ac:chgData name="Jacob, Karen (SPAC/PSPC) (elle-la / she-her)" userId="66e9cce0-e37b-4645-a907-f7690bd68dfb" providerId="ADAL" clId="{871AC57A-6E3B-4D85-BA02-8D6F5065EA89}" dt="2024-06-05T17:57:36.566" v="146"/>
          <ac:picMkLst>
            <pc:docMk/>
            <pc:sldMk cId="1903397118" sldId="5004"/>
            <ac:picMk id="178" creationId="{A65C9685-60F8-A1E6-ACB4-D66200BFA1C0}"/>
          </ac:picMkLst>
        </pc:picChg>
        <pc:picChg chg="mod">
          <ac:chgData name="Jacob, Karen (SPAC/PSPC) (elle-la / she-her)" userId="66e9cce0-e37b-4645-a907-f7690bd68dfb" providerId="ADAL" clId="{871AC57A-6E3B-4D85-BA02-8D6F5065EA89}" dt="2024-06-05T17:57:36.566" v="146"/>
          <ac:picMkLst>
            <pc:docMk/>
            <pc:sldMk cId="1903397118" sldId="5004"/>
            <ac:picMk id="189" creationId="{2FA64664-8977-A7C6-F192-4A0643BEF6AA}"/>
          </ac:picMkLst>
        </pc:picChg>
        <pc:picChg chg="mod">
          <ac:chgData name="Jacob, Karen (SPAC/PSPC) (elle-la / she-her)" userId="66e9cce0-e37b-4645-a907-f7690bd68dfb" providerId="ADAL" clId="{871AC57A-6E3B-4D85-BA02-8D6F5065EA89}" dt="2024-06-05T17:57:36.566" v="146"/>
          <ac:picMkLst>
            <pc:docMk/>
            <pc:sldMk cId="1903397118" sldId="5004"/>
            <ac:picMk id="232" creationId="{B1D216C6-E26D-BD6B-7B29-DDC5EBB115F3}"/>
          </ac:picMkLst>
        </pc:picChg>
        <pc:picChg chg="mod">
          <ac:chgData name="Jacob, Karen (SPAC/PSPC) (elle-la / she-her)" userId="66e9cce0-e37b-4645-a907-f7690bd68dfb" providerId="ADAL" clId="{871AC57A-6E3B-4D85-BA02-8D6F5065EA89}" dt="2024-06-05T17:57:36.566" v="146"/>
          <ac:picMkLst>
            <pc:docMk/>
            <pc:sldMk cId="1903397118" sldId="5004"/>
            <ac:picMk id="276" creationId="{A379CFFD-97B2-434B-9056-26022C268F4B}"/>
          </ac:picMkLst>
        </pc:picChg>
        <pc:picChg chg="mod">
          <ac:chgData name="Jacob, Karen (SPAC/PSPC) (elle-la / she-her)" userId="66e9cce0-e37b-4645-a907-f7690bd68dfb" providerId="ADAL" clId="{871AC57A-6E3B-4D85-BA02-8D6F5065EA89}" dt="2024-06-05T17:57:36.566" v="146"/>
          <ac:picMkLst>
            <pc:docMk/>
            <pc:sldMk cId="1903397118" sldId="5004"/>
            <ac:picMk id="324" creationId="{3974903D-1697-C47F-C0DF-21023767F358}"/>
          </ac:picMkLst>
        </pc:picChg>
        <pc:picChg chg="mod">
          <ac:chgData name="Jacob, Karen (SPAC/PSPC) (elle-la / she-her)" userId="66e9cce0-e37b-4645-a907-f7690bd68dfb" providerId="ADAL" clId="{871AC57A-6E3B-4D85-BA02-8D6F5065EA89}" dt="2024-06-05T17:57:36.566" v="146"/>
          <ac:picMkLst>
            <pc:docMk/>
            <pc:sldMk cId="1903397118" sldId="5004"/>
            <ac:picMk id="325" creationId="{3A327087-DE84-91B7-DB2C-F74D2A3C34FE}"/>
          </ac:picMkLst>
        </pc:picChg>
        <pc:picChg chg="mod">
          <ac:chgData name="Jacob, Karen (SPAC/PSPC) (elle-la / she-her)" userId="66e9cce0-e37b-4645-a907-f7690bd68dfb" providerId="ADAL" clId="{871AC57A-6E3B-4D85-BA02-8D6F5065EA89}" dt="2024-06-05T17:57:36.566" v="146"/>
          <ac:picMkLst>
            <pc:docMk/>
            <pc:sldMk cId="1903397118" sldId="5004"/>
            <ac:picMk id="326" creationId="{FD93B344-F4B5-3264-33CC-BBE816DFC34A}"/>
          </ac:picMkLst>
        </pc:picChg>
        <pc:picChg chg="mod">
          <ac:chgData name="Jacob, Karen (SPAC/PSPC) (elle-la / she-her)" userId="66e9cce0-e37b-4645-a907-f7690bd68dfb" providerId="ADAL" clId="{871AC57A-6E3B-4D85-BA02-8D6F5065EA89}" dt="2024-06-05T17:57:36.566" v="146"/>
          <ac:picMkLst>
            <pc:docMk/>
            <pc:sldMk cId="1903397118" sldId="5004"/>
            <ac:picMk id="327" creationId="{08054E4A-1364-08E5-2F87-FF90FB6975C1}"/>
          </ac:picMkLst>
        </pc:picChg>
        <pc:picChg chg="mod">
          <ac:chgData name="Jacob, Karen (SPAC/PSPC) (elle-la / she-her)" userId="66e9cce0-e37b-4645-a907-f7690bd68dfb" providerId="ADAL" clId="{871AC57A-6E3B-4D85-BA02-8D6F5065EA89}" dt="2024-06-05T17:57:36.566" v="146"/>
          <ac:picMkLst>
            <pc:docMk/>
            <pc:sldMk cId="1903397118" sldId="5004"/>
            <ac:picMk id="328" creationId="{063C9700-12D4-4428-A419-3748C8477B9C}"/>
          </ac:picMkLst>
        </pc:picChg>
        <pc:picChg chg="mod">
          <ac:chgData name="Jacob, Karen (SPAC/PSPC) (elle-la / she-her)" userId="66e9cce0-e37b-4645-a907-f7690bd68dfb" providerId="ADAL" clId="{871AC57A-6E3B-4D85-BA02-8D6F5065EA89}" dt="2024-06-05T17:57:36.566" v="146"/>
          <ac:picMkLst>
            <pc:docMk/>
            <pc:sldMk cId="1903397118" sldId="5004"/>
            <ac:picMk id="329" creationId="{0AABB5FD-DC94-A954-E2BA-547A232DBB76}"/>
          </ac:picMkLst>
        </pc:picChg>
        <pc:picChg chg="mod">
          <ac:chgData name="Jacob, Karen (SPAC/PSPC) (elle-la / she-her)" userId="66e9cce0-e37b-4645-a907-f7690bd68dfb" providerId="ADAL" clId="{871AC57A-6E3B-4D85-BA02-8D6F5065EA89}" dt="2024-06-05T17:57:36.566" v="146"/>
          <ac:picMkLst>
            <pc:docMk/>
            <pc:sldMk cId="1903397118" sldId="5004"/>
            <ac:picMk id="330" creationId="{F221458B-9B2F-E11F-3EB0-B98C14E003F6}"/>
          </ac:picMkLst>
        </pc:picChg>
        <pc:picChg chg="mod">
          <ac:chgData name="Jacob, Karen (SPAC/PSPC) (elle-la / she-her)" userId="66e9cce0-e37b-4645-a907-f7690bd68dfb" providerId="ADAL" clId="{871AC57A-6E3B-4D85-BA02-8D6F5065EA89}" dt="2024-06-05T17:57:36.566" v="146"/>
          <ac:picMkLst>
            <pc:docMk/>
            <pc:sldMk cId="1903397118" sldId="5004"/>
            <ac:picMk id="331" creationId="{5C87E175-7404-C90F-6791-749F10552DB8}"/>
          </ac:picMkLst>
        </pc:picChg>
        <pc:picChg chg="mod">
          <ac:chgData name="Jacob, Karen (SPAC/PSPC) (elle-la / she-her)" userId="66e9cce0-e37b-4645-a907-f7690bd68dfb" providerId="ADAL" clId="{871AC57A-6E3B-4D85-BA02-8D6F5065EA89}" dt="2024-06-05T17:57:36.566" v="146"/>
          <ac:picMkLst>
            <pc:docMk/>
            <pc:sldMk cId="1903397118" sldId="5004"/>
            <ac:picMk id="332" creationId="{11A80F49-759B-7E51-9B40-170C0141AF80}"/>
          </ac:picMkLst>
        </pc:picChg>
        <pc:picChg chg="mod">
          <ac:chgData name="Jacob, Karen (SPAC/PSPC) (elle-la / she-her)" userId="66e9cce0-e37b-4645-a907-f7690bd68dfb" providerId="ADAL" clId="{871AC57A-6E3B-4D85-BA02-8D6F5065EA89}" dt="2024-06-05T17:57:36.566" v="146"/>
          <ac:picMkLst>
            <pc:docMk/>
            <pc:sldMk cId="1903397118" sldId="5004"/>
            <ac:picMk id="333" creationId="{E26A9118-2712-C0B4-824A-A3F5DF5BC3CB}"/>
          </ac:picMkLst>
        </pc:picChg>
        <pc:picChg chg="mod">
          <ac:chgData name="Jacob, Karen (SPAC/PSPC) (elle-la / she-her)" userId="66e9cce0-e37b-4645-a907-f7690bd68dfb" providerId="ADAL" clId="{871AC57A-6E3B-4D85-BA02-8D6F5065EA89}" dt="2024-06-05T17:57:36.566" v="146"/>
          <ac:picMkLst>
            <pc:docMk/>
            <pc:sldMk cId="1903397118" sldId="5004"/>
            <ac:picMk id="334" creationId="{DE9D746F-4794-33F8-DDFE-084066D5DC69}"/>
          </ac:picMkLst>
        </pc:picChg>
        <pc:picChg chg="mod">
          <ac:chgData name="Jacob, Karen (SPAC/PSPC) (elle-la / she-her)" userId="66e9cce0-e37b-4645-a907-f7690bd68dfb" providerId="ADAL" clId="{871AC57A-6E3B-4D85-BA02-8D6F5065EA89}" dt="2024-06-05T17:57:36.566" v="146"/>
          <ac:picMkLst>
            <pc:docMk/>
            <pc:sldMk cId="1903397118" sldId="5004"/>
            <ac:picMk id="335" creationId="{E0D10647-530C-64FC-7549-17C24E93897A}"/>
          </ac:picMkLst>
        </pc:picChg>
        <pc:picChg chg="mod">
          <ac:chgData name="Jacob, Karen (SPAC/PSPC) (elle-la / she-her)" userId="66e9cce0-e37b-4645-a907-f7690bd68dfb" providerId="ADAL" clId="{871AC57A-6E3B-4D85-BA02-8D6F5065EA89}" dt="2024-06-05T17:57:36.566" v="146"/>
          <ac:picMkLst>
            <pc:docMk/>
            <pc:sldMk cId="1903397118" sldId="5004"/>
            <ac:picMk id="336" creationId="{BCC8C6C0-91FE-2323-90D5-C32624742BEE}"/>
          </ac:picMkLst>
        </pc:picChg>
        <pc:picChg chg="mod">
          <ac:chgData name="Jacob, Karen (SPAC/PSPC) (elle-la / she-her)" userId="66e9cce0-e37b-4645-a907-f7690bd68dfb" providerId="ADAL" clId="{871AC57A-6E3B-4D85-BA02-8D6F5065EA89}" dt="2024-06-05T17:57:36.566" v="146"/>
          <ac:picMkLst>
            <pc:docMk/>
            <pc:sldMk cId="1903397118" sldId="5004"/>
            <ac:picMk id="354" creationId="{7B6A8D96-88D6-AFCD-A271-4684DA91A331}"/>
          </ac:picMkLst>
        </pc:picChg>
        <pc:picChg chg="mod">
          <ac:chgData name="Jacob, Karen (SPAC/PSPC) (elle-la / she-her)" userId="66e9cce0-e37b-4645-a907-f7690bd68dfb" providerId="ADAL" clId="{871AC57A-6E3B-4D85-BA02-8D6F5065EA89}" dt="2024-06-05T17:57:36.566" v="146"/>
          <ac:picMkLst>
            <pc:docMk/>
            <pc:sldMk cId="1903397118" sldId="5004"/>
            <ac:picMk id="397" creationId="{BF50ACC4-82CF-D356-0415-7E53CA459D24}"/>
          </ac:picMkLst>
        </pc:picChg>
        <pc:inkChg chg="mod">
          <ac:chgData name="Jacob, Karen (SPAC/PSPC) (elle-la / she-her)" userId="66e9cce0-e37b-4645-a907-f7690bd68dfb" providerId="ADAL" clId="{871AC57A-6E3B-4D85-BA02-8D6F5065EA89}" dt="2024-06-05T17:57:36.566" v="146"/>
          <ac:inkMkLst>
            <pc:docMk/>
            <pc:sldMk cId="1903397118" sldId="5004"/>
            <ac:inkMk id="5" creationId="{F3627D6B-7A4F-9AAF-1357-1818E29ED33B}"/>
          </ac:inkMkLst>
        </pc:inkChg>
        <pc:inkChg chg="mod">
          <ac:chgData name="Jacob, Karen (SPAC/PSPC) (elle-la / she-her)" userId="66e9cce0-e37b-4645-a907-f7690bd68dfb" providerId="ADAL" clId="{871AC57A-6E3B-4D85-BA02-8D6F5065EA89}" dt="2024-06-05T17:57:36.566" v="146"/>
          <ac:inkMkLst>
            <pc:docMk/>
            <pc:sldMk cId="1903397118" sldId="5004"/>
            <ac:inkMk id="6" creationId="{C5456B84-7D10-682A-02CC-AC448C0E0B46}"/>
          </ac:inkMkLst>
        </pc:inkChg>
        <pc:cxnChg chg="mod">
          <ac:chgData name="Jacob, Karen (SPAC/PSPC) (elle-la / she-her)" userId="66e9cce0-e37b-4645-a907-f7690bd68dfb" providerId="ADAL" clId="{871AC57A-6E3B-4D85-BA02-8D6F5065EA89}" dt="2024-06-05T17:57:36.566" v="146"/>
          <ac:cxnSpMkLst>
            <pc:docMk/>
            <pc:sldMk cId="1903397118" sldId="5004"/>
            <ac:cxnSpMk id="10" creationId="{8A5964A9-7543-BF82-2B7D-9E34B2B13F99}"/>
          </ac:cxnSpMkLst>
        </pc:cxnChg>
        <pc:extLst>
          <p:ext xmlns:p="http://schemas.openxmlformats.org/presentationml/2006/main" uri="{D6D511B9-2390-475A-947B-AFAB55BFBCF1}">
            <pc226:cmChg xmlns:pc226="http://schemas.microsoft.com/office/powerpoint/2022/06/main/command" chg="add">
              <pc226:chgData name="Jacob, Karen (SPAC/PSPC) (elle-la / she-her)" userId="66e9cce0-e37b-4645-a907-f7690bd68dfb" providerId="ADAL" clId="{871AC57A-6E3B-4D85-BA02-8D6F5065EA89}" dt="2024-06-05T17:58:50.926" v="150"/>
              <pc2:cmMkLst xmlns:pc2="http://schemas.microsoft.com/office/powerpoint/2019/9/main/command">
                <pc:docMk/>
                <pc:sldMk cId="1903397118" sldId="5004"/>
                <pc2:cmMk id="{9E4A2A8D-FC18-4A2F-9D7F-B5F2643E0207}"/>
              </pc2:cmMkLst>
            </pc226:cmChg>
          </p:ext>
        </pc:extLst>
      </pc:sldChg>
      <pc:sldChg chg="modSp del mod">
        <pc:chgData name="Jacob, Karen (SPAC/PSPC) (elle-la / she-her)" userId="66e9cce0-e37b-4645-a907-f7690bd68dfb" providerId="ADAL" clId="{871AC57A-6E3B-4D85-BA02-8D6F5065EA89}" dt="2024-06-21T12:39:11.829" v="157" actId="47"/>
        <pc:sldMkLst>
          <pc:docMk/>
          <pc:sldMk cId="3820944322" sldId="5005"/>
        </pc:sldMkLst>
        <pc:grpChg chg="mod">
          <ac:chgData name="Jacob, Karen (SPAC/PSPC) (elle-la / she-her)" userId="66e9cce0-e37b-4645-a907-f7690bd68dfb" providerId="ADAL" clId="{871AC57A-6E3B-4D85-BA02-8D6F5065EA89}" dt="2024-06-21T12:39:02.681" v="156" actId="1076"/>
          <ac:grpSpMkLst>
            <pc:docMk/>
            <pc:sldMk cId="3820944322" sldId="5005"/>
            <ac:grpSpMk id="3" creationId="{EAFCA7DA-B3A3-40D1-F2DD-88BF94C0FDEE}"/>
          </ac:grpSpMkLst>
        </pc:grpChg>
      </pc:sldChg>
      <pc:sldChg chg="addSp delSp mod modShow">
        <pc:chgData name="Jacob, Karen (SPAC/PSPC) (elle-la / she-her)" userId="66e9cce0-e37b-4645-a907-f7690bd68dfb" providerId="ADAL" clId="{871AC57A-6E3B-4D85-BA02-8D6F5065EA89}" dt="2024-06-21T14:25:32.772" v="2813" actId="729"/>
        <pc:sldMkLst>
          <pc:docMk/>
          <pc:sldMk cId="257696756" sldId="5009"/>
        </pc:sldMkLst>
        <pc:spChg chg="add del">
          <ac:chgData name="Jacob, Karen (SPAC/PSPC) (elle-la / she-her)" userId="66e9cce0-e37b-4645-a907-f7690bd68dfb" providerId="ADAL" clId="{871AC57A-6E3B-4D85-BA02-8D6F5065EA89}" dt="2024-06-21T13:41:55.445" v="1411" actId="478"/>
          <ac:spMkLst>
            <pc:docMk/>
            <pc:sldMk cId="257696756" sldId="5009"/>
            <ac:spMk id="2" creationId="{D960D336-DD27-5679-AECF-6C13D8155F68}"/>
          </ac:spMkLst>
        </pc:spChg>
        <pc:cxnChg chg="add del">
          <ac:chgData name="Jacob, Karen (SPAC/PSPC) (elle-la / she-her)" userId="66e9cce0-e37b-4645-a907-f7690bd68dfb" providerId="ADAL" clId="{871AC57A-6E3B-4D85-BA02-8D6F5065EA89}" dt="2024-06-21T13:41:54.652" v="1409" actId="478"/>
          <ac:cxnSpMkLst>
            <pc:docMk/>
            <pc:sldMk cId="257696756" sldId="5009"/>
            <ac:cxnSpMk id="12" creationId="{BDE86105-CA93-DFEC-23D1-4FA46A0C45FB}"/>
          </ac:cxnSpMkLst>
        </pc:cxnChg>
        <pc:cxnChg chg="add del">
          <ac:chgData name="Jacob, Karen (SPAC/PSPC) (elle-la / she-her)" userId="66e9cce0-e37b-4645-a907-f7690bd68dfb" providerId="ADAL" clId="{871AC57A-6E3B-4D85-BA02-8D6F5065EA89}" dt="2024-06-21T13:41:55.043" v="1410" actId="478"/>
          <ac:cxnSpMkLst>
            <pc:docMk/>
            <pc:sldMk cId="257696756" sldId="5009"/>
            <ac:cxnSpMk id="16" creationId="{42F01C50-1EA6-FC78-46ED-8742A7F0E7A2}"/>
          </ac:cxnSpMkLst>
        </pc:cxnChg>
      </pc:sldChg>
      <pc:sldChg chg="mod modShow">
        <pc:chgData name="Jacob, Karen (SPAC/PSPC) (elle-la / she-her)" userId="66e9cce0-e37b-4645-a907-f7690bd68dfb" providerId="ADAL" clId="{871AC57A-6E3B-4D85-BA02-8D6F5065EA89}" dt="2024-06-21T14:50:48.842" v="3580" actId="729"/>
        <pc:sldMkLst>
          <pc:docMk/>
          <pc:sldMk cId="3716027044" sldId="5010"/>
        </pc:sldMkLst>
      </pc:sldChg>
      <pc:sldChg chg="modSp mod modShow modNotesTx">
        <pc:chgData name="Jacob, Karen (SPAC/PSPC) (elle-la / she-her)" userId="66e9cce0-e37b-4645-a907-f7690bd68dfb" providerId="ADAL" clId="{871AC57A-6E3B-4D85-BA02-8D6F5065EA89}" dt="2024-06-21T13:09:34.946" v="1001" actId="729"/>
        <pc:sldMkLst>
          <pc:docMk/>
          <pc:sldMk cId="1717449089" sldId="5011"/>
        </pc:sldMkLst>
        <pc:spChg chg="mod">
          <ac:chgData name="Jacob, Karen (SPAC/PSPC) (elle-la / she-her)" userId="66e9cce0-e37b-4645-a907-f7690bd68dfb" providerId="ADAL" clId="{871AC57A-6E3B-4D85-BA02-8D6F5065EA89}" dt="2024-06-21T13:09:22.018" v="999"/>
          <ac:spMkLst>
            <pc:docMk/>
            <pc:sldMk cId="1717449089" sldId="5011"/>
            <ac:spMk id="3" creationId="{DE69AC7C-2B0D-CF31-48EE-53792B4D724E}"/>
          </ac:spMkLst>
        </pc:spChg>
        <pc:spChg chg="mod">
          <ac:chgData name="Jacob, Karen (SPAC/PSPC) (elle-la / she-her)" userId="66e9cce0-e37b-4645-a907-f7690bd68dfb" providerId="ADAL" clId="{871AC57A-6E3B-4D85-BA02-8D6F5065EA89}" dt="2024-06-21T13:03:28.461" v="569" actId="20577"/>
          <ac:spMkLst>
            <pc:docMk/>
            <pc:sldMk cId="1717449089" sldId="5011"/>
            <ac:spMk id="5" creationId="{A25F31FD-D91B-2F1F-48B5-8229C5FFF47F}"/>
          </ac:spMkLst>
        </pc:spChg>
      </pc:sldChg>
      <pc:sldChg chg="modSp mod">
        <pc:chgData name="Jacob, Karen (SPAC/PSPC) (elle-la / she-her)" userId="66e9cce0-e37b-4645-a907-f7690bd68dfb" providerId="ADAL" clId="{871AC57A-6E3B-4D85-BA02-8D6F5065EA89}" dt="2024-06-21T20:08:05.169" v="5490" actId="20577"/>
        <pc:sldMkLst>
          <pc:docMk/>
          <pc:sldMk cId="1053501532" sldId="5012"/>
        </pc:sldMkLst>
        <pc:spChg chg="mod">
          <ac:chgData name="Jacob, Karen (SPAC/PSPC) (elle-la / she-her)" userId="66e9cce0-e37b-4645-a907-f7690bd68dfb" providerId="ADAL" clId="{871AC57A-6E3B-4D85-BA02-8D6F5065EA89}" dt="2024-06-21T20:08:05.169" v="5490" actId="20577"/>
          <ac:spMkLst>
            <pc:docMk/>
            <pc:sldMk cId="1053501532" sldId="5012"/>
            <ac:spMk id="3" creationId="{F1C3E258-F619-5F69-B737-122EB008B65B}"/>
          </ac:spMkLst>
        </pc:spChg>
        <pc:spChg chg="mod">
          <ac:chgData name="Jacob, Karen (SPAC/PSPC) (elle-la / she-her)" userId="66e9cce0-e37b-4645-a907-f7690bd68dfb" providerId="ADAL" clId="{871AC57A-6E3B-4D85-BA02-8D6F5065EA89}" dt="2024-06-21T15:17:18.101" v="4352" actId="20577"/>
          <ac:spMkLst>
            <pc:docMk/>
            <pc:sldMk cId="1053501532" sldId="5012"/>
            <ac:spMk id="5" creationId="{EA7F99B2-4BB8-F561-E89D-85B8AF383FB1}"/>
          </ac:spMkLst>
        </pc:spChg>
      </pc:sldChg>
      <pc:sldChg chg="addSp delSp modSp add mod">
        <pc:chgData name="Jacob, Karen (SPAC/PSPC) (elle-la / she-her)" userId="66e9cce0-e37b-4645-a907-f7690bd68dfb" providerId="ADAL" clId="{871AC57A-6E3B-4D85-BA02-8D6F5065EA89}" dt="2024-06-21T15:28:30.184" v="4743" actId="20577"/>
        <pc:sldMkLst>
          <pc:docMk/>
          <pc:sldMk cId="223308526" sldId="5013"/>
        </pc:sldMkLst>
        <pc:spChg chg="mod">
          <ac:chgData name="Jacob, Karen (SPAC/PSPC) (elle-la / she-her)" userId="66e9cce0-e37b-4645-a907-f7690bd68dfb" providerId="ADAL" clId="{871AC57A-6E3B-4D85-BA02-8D6F5065EA89}" dt="2024-06-21T13:24:48.043" v="1280" actId="20577"/>
          <ac:spMkLst>
            <pc:docMk/>
            <pc:sldMk cId="223308526" sldId="5013"/>
            <ac:spMk id="2" creationId="{9DE119AA-C27C-1F93-8533-D6E1F56A43A8}"/>
          </ac:spMkLst>
        </pc:spChg>
        <pc:spChg chg="add mod">
          <ac:chgData name="Jacob, Karen (SPAC/PSPC) (elle-la / she-her)" userId="66e9cce0-e37b-4645-a907-f7690bd68dfb" providerId="ADAL" clId="{871AC57A-6E3B-4D85-BA02-8D6F5065EA89}" dt="2024-06-21T15:28:30.184" v="4743" actId="20577"/>
          <ac:spMkLst>
            <pc:docMk/>
            <pc:sldMk cId="223308526" sldId="5013"/>
            <ac:spMk id="3" creationId="{75D5A4AE-04AE-5718-297F-A8E8907540F8}"/>
          </ac:spMkLst>
        </pc:spChg>
        <pc:spChg chg="del">
          <ac:chgData name="Jacob, Karen (SPAC/PSPC) (elle-la / she-her)" userId="66e9cce0-e37b-4645-a907-f7690bd68dfb" providerId="ADAL" clId="{871AC57A-6E3B-4D85-BA02-8D6F5065EA89}" dt="2024-06-21T12:48:25.342" v="519" actId="478"/>
          <ac:spMkLst>
            <pc:docMk/>
            <pc:sldMk cId="223308526" sldId="5013"/>
            <ac:spMk id="115" creationId="{99B313E4-68F8-0E05-784F-777B53C53AD8}"/>
          </ac:spMkLst>
        </pc:spChg>
        <pc:spChg chg="del">
          <ac:chgData name="Jacob, Karen (SPAC/PSPC) (elle-la / she-her)" userId="66e9cce0-e37b-4645-a907-f7690bd68dfb" providerId="ADAL" clId="{871AC57A-6E3B-4D85-BA02-8D6F5065EA89}" dt="2024-06-21T12:48:25.342" v="519" actId="478"/>
          <ac:spMkLst>
            <pc:docMk/>
            <pc:sldMk cId="223308526" sldId="5013"/>
            <ac:spMk id="117" creationId="{C9DAC2A6-C89F-2DC3-5552-32890189A83F}"/>
          </ac:spMkLst>
        </pc:spChg>
        <pc:spChg chg="del">
          <ac:chgData name="Jacob, Karen (SPAC/PSPC) (elle-la / she-her)" userId="66e9cce0-e37b-4645-a907-f7690bd68dfb" providerId="ADAL" clId="{871AC57A-6E3B-4D85-BA02-8D6F5065EA89}" dt="2024-06-21T12:48:25.342" v="519" actId="478"/>
          <ac:spMkLst>
            <pc:docMk/>
            <pc:sldMk cId="223308526" sldId="5013"/>
            <ac:spMk id="118" creationId="{03606830-0145-BF89-5080-5EDD4851A9CA}"/>
          </ac:spMkLst>
        </pc:spChg>
        <pc:spChg chg="del">
          <ac:chgData name="Jacob, Karen (SPAC/PSPC) (elle-la / she-her)" userId="66e9cce0-e37b-4645-a907-f7690bd68dfb" providerId="ADAL" clId="{871AC57A-6E3B-4D85-BA02-8D6F5065EA89}" dt="2024-06-21T12:48:25.342" v="519" actId="478"/>
          <ac:spMkLst>
            <pc:docMk/>
            <pc:sldMk cId="223308526" sldId="5013"/>
            <ac:spMk id="121" creationId="{66B4CDA5-6D84-9E6F-207A-6E00AF65A892}"/>
          </ac:spMkLst>
        </pc:spChg>
        <pc:spChg chg="del">
          <ac:chgData name="Jacob, Karen (SPAC/PSPC) (elle-la / she-her)" userId="66e9cce0-e37b-4645-a907-f7690bd68dfb" providerId="ADAL" clId="{871AC57A-6E3B-4D85-BA02-8D6F5065EA89}" dt="2024-06-21T12:48:25.342" v="519" actId="478"/>
          <ac:spMkLst>
            <pc:docMk/>
            <pc:sldMk cId="223308526" sldId="5013"/>
            <ac:spMk id="122" creationId="{A9D90BF1-5FA9-70F0-2114-74B647F61343}"/>
          </ac:spMkLst>
        </pc:spChg>
        <pc:spChg chg="del">
          <ac:chgData name="Jacob, Karen (SPAC/PSPC) (elle-la / she-her)" userId="66e9cce0-e37b-4645-a907-f7690bd68dfb" providerId="ADAL" clId="{871AC57A-6E3B-4D85-BA02-8D6F5065EA89}" dt="2024-06-21T12:48:25.342" v="519" actId="478"/>
          <ac:spMkLst>
            <pc:docMk/>
            <pc:sldMk cId="223308526" sldId="5013"/>
            <ac:spMk id="123" creationId="{96958ADE-A4CF-B97E-6CC3-E67FA3D6703E}"/>
          </ac:spMkLst>
        </pc:spChg>
        <pc:spChg chg="del">
          <ac:chgData name="Jacob, Karen (SPAC/PSPC) (elle-la / she-her)" userId="66e9cce0-e37b-4645-a907-f7690bd68dfb" providerId="ADAL" clId="{871AC57A-6E3B-4D85-BA02-8D6F5065EA89}" dt="2024-06-21T12:48:25.342" v="519" actId="478"/>
          <ac:spMkLst>
            <pc:docMk/>
            <pc:sldMk cId="223308526" sldId="5013"/>
            <ac:spMk id="125" creationId="{C3A1B379-6571-1C49-58FA-89CBE354E722}"/>
          </ac:spMkLst>
        </pc:spChg>
        <pc:spChg chg="del">
          <ac:chgData name="Jacob, Karen (SPAC/PSPC) (elle-la / she-her)" userId="66e9cce0-e37b-4645-a907-f7690bd68dfb" providerId="ADAL" clId="{871AC57A-6E3B-4D85-BA02-8D6F5065EA89}" dt="2024-06-21T12:48:25.342" v="519" actId="478"/>
          <ac:spMkLst>
            <pc:docMk/>
            <pc:sldMk cId="223308526" sldId="5013"/>
            <ac:spMk id="126" creationId="{1D166D08-6E2D-80DD-6808-092F6378AC03}"/>
          </ac:spMkLst>
        </pc:spChg>
        <pc:spChg chg="del">
          <ac:chgData name="Jacob, Karen (SPAC/PSPC) (elle-la / she-her)" userId="66e9cce0-e37b-4645-a907-f7690bd68dfb" providerId="ADAL" clId="{871AC57A-6E3B-4D85-BA02-8D6F5065EA89}" dt="2024-06-21T12:48:25.342" v="519" actId="478"/>
          <ac:spMkLst>
            <pc:docMk/>
            <pc:sldMk cId="223308526" sldId="5013"/>
            <ac:spMk id="130" creationId="{37927CF3-81AF-9EC4-5FAE-0F465D84F953}"/>
          </ac:spMkLst>
        </pc:spChg>
        <pc:spChg chg="del">
          <ac:chgData name="Jacob, Karen (SPAC/PSPC) (elle-la / she-her)" userId="66e9cce0-e37b-4645-a907-f7690bd68dfb" providerId="ADAL" clId="{871AC57A-6E3B-4D85-BA02-8D6F5065EA89}" dt="2024-06-21T12:48:25.342" v="519" actId="478"/>
          <ac:spMkLst>
            <pc:docMk/>
            <pc:sldMk cId="223308526" sldId="5013"/>
            <ac:spMk id="131" creationId="{F71F5B42-71A6-85F9-508A-7ED7FF32727F}"/>
          </ac:spMkLst>
        </pc:spChg>
        <pc:spChg chg="del">
          <ac:chgData name="Jacob, Karen (SPAC/PSPC) (elle-la / she-her)" userId="66e9cce0-e37b-4645-a907-f7690bd68dfb" providerId="ADAL" clId="{871AC57A-6E3B-4D85-BA02-8D6F5065EA89}" dt="2024-06-21T12:48:25.342" v="519" actId="478"/>
          <ac:spMkLst>
            <pc:docMk/>
            <pc:sldMk cId="223308526" sldId="5013"/>
            <ac:spMk id="132" creationId="{972E62F7-856E-E74B-98EE-589692A22E88}"/>
          </ac:spMkLst>
        </pc:spChg>
        <pc:grpChg chg="del">
          <ac:chgData name="Jacob, Karen (SPAC/PSPC) (elle-la / she-her)" userId="66e9cce0-e37b-4645-a907-f7690bd68dfb" providerId="ADAL" clId="{871AC57A-6E3B-4D85-BA02-8D6F5065EA89}" dt="2024-06-21T12:48:25.342" v="519" actId="478"/>
          <ac:grpSpMkLst>
            <pc:docMk/>
            <pc:sldMk cId="223308526" sldId="5013"/>
            <ac:grpSpMk id="119" creationId="{35030E9D-B4CE-0B9D-28C2-9F05C1F829FA}"/>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20" creationId="{A738861C-A5D5-34D0-85CF-51FD1F064393}"/>
          </ac:grpSpMkLst>
        </pc:grpChg>
        <pc:grpChg chg="del">
          <ac:chgData name="Jacob, Karen (SPAC/PSPC) (elle-la / she-her)" userId="66e9cce0-e37b-4645-a907-f7690bd68dfb" providerId="ADAL" clId="{871AC57A-6E3B-4D85-BA02-8D6F5065EA89}" dt="2024-06-21T12:48:25.342" v="519" actId="478"/>
          <ac:grpSpMkLst>
            <pc:docMk/>
            <pc:sldMk cId="223308526" sldId="5013"/>
            <ac:grpSpMk id="135" creationId="{DFC4213B-24A7-04FD-6312-18CA7ABB7C6D}"/>
          </ac:grpSpMkLst>
        </pc:grpChg>
        <pc:picChg chg="del">
          <ac:chgData name="Jacob, Karen (SPAC/PSPC) (elle-la / she-her)" userId="66e9cce0-e37b-4645-a907-f7690bd68dfb" providerId="ADAL" clId="{871AC57A-6E3B-4D85-BA02-8D6F5065EA89}" dt="2024-06-21T12:48:25.342" v="519" actId="478"/>
          <ac:picMkLst>
            <pc:docMk/>
            <pc:sldMk cId="223308526" sldId="5013"/>
            <ac:picMk id="128" creationId="{72D7B425-467D-E300-99B1-FF1BD469BAA8}"/>
          </ac:picMkLst>
        </pc:picChg>
        <pc:picChg chg="del">
          <ac:chgData name="Jacob, Karen (SPAC/PSPC) (elle-la / she-her)" userId="66e9cce0-e37b-4645-a907-f7690bd68dfb" providerId="ADAL" clId="{871AC57A-6E3B-4D85-BA02-8D6F5065EA89}" dt="2024-06-21T12:48:25.342" v="519" actId="478"/>
          <ac:picMkLst>
            <pc:docMk/>
            <pc:sldMk cId="223308526" sldId="5013"/>
            <ac:picMk id="129" creationId="{E625BF06-9D3F-0649-97EF-1BA8A59764D7}"/>
          </ac:picMkLst>
        </pc:picChg>
        <pc:picChg chg="del">
          <ac:chgData name="Jacob, Karen (SPAC/PSPC) (elle-la / she-her)" userId="66e9cce0-e37b-4645-a907-f7690bd68dfb" providerId="ADAL" clId="{871AC57A-6E3B-4D85-BA02-8D6F5065EA89}" dt="2024-06-21T12:48:25.342" v="519" actId="478"/>
          <ac:picMkLst>
            <pc:docMk/>
            <pc:sldMk cId="223308526" sldId="5013"/>
            <ac:picMk id="133" creationId="{2C4D393D-1B54-98F0-19F7-D0F7CB3EDE01}"/>
          </ac:picMkLst>
        </pc:picChg>
        <pc:picChg chg="del">
          <ac:chgData name="Jacob, Karen (SPAC/PSPC) (elle-la / she-her)" userId="66e9cce0-e37b-4645-a907-f7690bd68dfb" providerId="ADAL" clId="{871AC57A-6E3B-4D85-BA02-8D6F5065EA89}" dt="2024-06-21T12:48:25.342" v="519" actId="478"/>
          <ac:picMkLst>
            <pc:docMk/>
            <pc:sldMk cId="223308526" sldId="5013"/>
            <ac:picMk id="134" creationId="{5BE65366-221B-6F0C-7BDE-1611F267E4E8}"/>
          </ac:picMkLst>
        </pc:picChg>
      </pc:sldChg>
      <pc:sldChg chg="addSp delSp modSp add mod ord delCm">
        <pc:chgData name="Jacob, Karen (SPAC/PSPC) (elle-la / she-her)" userId="66e9cce0-e37b-4645-a907-f7690bd68dfb" providerId="ADAL" clId="{871AC57A-6E3B-4D85-BA02-8D6F5065EA89}" dt="2024-06-21T15:54:54.151" v="5118" actId="20577"/>
        <pc:sldMkLst>
          <pc:docMk/>
          <pc:sldMk cId="2648589367" sldId="5014"/>
        </pc:sldMkLst>
        <pc:spChg chg="mod">
          <ac:chgData name="Jacob, Karen (SPAC/PSPC) (elle-la / she-her)" userId="66e9cce0-e37b-4645-a907-f7690bd68dfb" providerId="ADAL" clId="{871AC57A-6E3B-4D85-BA02-8D6F5065EA89}" dt="2024-06-21T15:54:54.151" v="5118" actId="20577"/>
          <ac:spMkLst>
            <pc:docMk/>
            <pc:sldMk cId="2648589367" sldId="5014"/>
            <ac:spMk id="3" creationId="{DE69AC7C-2B0D-CF31-48EE-53792B4D724E}"/>
          </ac:spMkLst>
        </pc:spChg>
        <pc:spChg chg="add del mod">
          <ac:chgData name="Jacob, Karen (SPAC/PSPC) (elle-la / she-her)" userId="66e9cce0-e37b-4645-a907-f7690bd68dfb" providerId="ADAL" clId="{871AC57A-6E3B-4D85-BA02-8D6F5065EA89}" dt="2024-06-21T13:22:54.244" v="1187" actId="478"/>
          <ac:spMkLst>
            <pc:docMk/>
            <pc:sldMk cId="2648589367" sldId="5014"/>
            <ac:spMk id="4" creationId="{AB6D7910-BF9E-BA2E-759E-9A7ADDAD663C}"/>
          </ac:spMkLst>
        </pc:spChg>
        <pc:picChg chg="del">
          <ac:chgData name="Jacob, Karen (SPAC/PSPC) (elle-la / she-her)" userId="66e9cce0-e37b-4645-a907-f7690bd68dfb" providerId="ADAL" clId="{871AC57A-6E3B-4D85-BA02-8D6F5065EA89}" dt="2024-06-21T13:22:51.248" v="1186" actId="478"/>
          <ac:picMkLst>
            <pc:docMk/>
            <pc:sldMk cId="2648589367" sldId="5014"/>
            <ac:picMk id="9" creationId="{454D520A-4398-C925-7442-7C2F3F09B382}"/>
          </ac:picMkLst>
        </pc:picChg>
        <pc:extLst>
          <p:ext xmlns:p="http://schemas.openxmlformats.org/presentationml/2006/main" uri="{D6D511B9-2390-475A-947B-AFAB55BFBCF1}">
            <pc226:cmChg xmlns:pc226="http://schemas.microsoft.com/office/powerpoint/2022/06/main/command" chg="del">
              <pc226:chgData name="Jacob, Karen (SPAC/PSPC) (elle-la / she-her)" userId="66e9cce0-e37b-4645-a907-f7690bd68dfb" providerId="ADAL" clId="{871AC57A-6E3B-4D85-BA02-8D6F5065EA89}" dt="2024-06-21T13:09:29.966" v="1000"/>
              <pc2:cmMkLst xmlns:pc2="http://schemas.microsoft.com/office/powerpoint/2019/9/main/command">
                <pc:docMk/>
                <pc:sldMk cId="2648589367" sldId="5014"/>
                <pc2:cmMk id="{94F29DB1-DBF2-41F0-829D-6465F6DB99F6}"/>
              </pc2:cmMkLst>
            </pc226:cmChg>
          </p:ext>
        </pc:extLst>
      </pc:sldChg>
      <pc:sldChg chg="modSp add del mod modShow">
        <pc:chgData name="Jacob, Karen (SPAC/PSPC) (elle-la / she-her)" userId="66e9cce0-e37b-4645-a907-f7690bd68dfb" providerId="ADAL" clId="{871AC57A-6E3B-4D85-BA02-8D6F5065EA89}" dt="2024-06-21T14:51:21.235" v="3582" actId="47"/>
        <pc:sldMkLst>
          <pc:docMk/>
          <pc:sldMk cId="1328924416" sldId="5015"/>
        </pc:sldMkLst>
        <pc:spChg chg="mod">
          <ac:chgData name="Jacob, Karen (SPAC/PSPC) (elle-la / she-her)" userId="66e9cce0-e37b-4645-a907-f7690bd68dfb" providerId="ADAL" clId="{871AC57A-6E3B-4D85-BA02-8D6F5065EA89}" dt="2024-06-21T13:42:37.210" v="1448" actId="1076"/>
          <ac:spMkLst>
            <pc:docMk/>
            <pc:sldMk cId="1328924416" sldId="5015"/>
            <ac:spMk id="54" creationId="{5490FC9F-889D-A044-9A24-51CB6BB0725C}"/>
          </ac:spMkLst>
        </pc:spChg>
        <pc:spChg chg="mod">
          <ac:chgData name="Jacob, Karen (SPAC/PSPC) (elle-la / she-her)" userId="66e9cce0-e37b-4645-a907-f7690bd68dfb" providerId="ADAL" clId="{871AC57A-6E3B-4D85-BA02-8D6F5065EA89}" dt="2024-06-21T13:56:49.460" v="1541" actId="120"/>
          <ac:spMkLst>
            <pc:docMk/>
            <pc:sldMk cId="1328924416" sldId="5015"/>
            <ac:spMk id="55" creationId="{C65A198B-1883-1A4B-A8B4-DD725DC9EB17}"/>
          </ac:spMkLst>
        </pc:spChg>
        <pc:spChg chg="mod">
          <ac:chgData name="Jacob, Karen (SPAC/PSPC) (elle-la / she-her)" userId="66e9cce0-e37b-4645-a907-f7690bd68dfb" providerId="ADAL" clId="{871AC57A-6E3B-4D85-BA02-8D6F5065EA89}" dt="2024-06-21T13:42:41.013" v="1449" actId="1076"/>
          <ac:spMkLst>
            <pc:docMk/>
            <pc:sldMk cId="1328924416" sldId="5015"/>
            <ac:spMk id="56" creationId="{432E7640-9E73-0D40-A6F4-AC27C1BD258B}"/>
          </ac:spMkLst>
        </pc:spChg>
      </pc:sldChg>
      <pc:sldChg chg="addSp delSp modSp add del mod setBg">
        <pc:chgData name="Jacob, Karen (SPAC/PSPC) (elle-la / she-her)" userId="66e9cce0-e37b-4645-a907-f7690bd68dfb" providerId="ADAL" clId="{871AC57A-6E3B-4D85-BA02-8D6F5065EA89}" dt="2024-06-21T13:26:44.399" v="1336" actId="47"/>
        <pc:sldMkLst>
          <pc:docMk/>
          <pc:sldMk cId="2593378778" sldId="5015"/>
        </pc:sldMkLst>
        <pc:spChg chg="add del mod">
          <ac:chgData name="Jacob, Karen (SPAC/PSPC) (elle-la / she-her)" userId="66e9cce0-e37b-4645-a907-f7690bd68dfb" providerId="ADAL" clId="{871AC57A-6E3B-4D85-BA02-8D6F5065EA89}" dt="2024-06-21T13:25:19.155" v="1283" actId="478"/>
          <ac:spMkLst>
            <pc:docMk/>
            <pc:sldMk cId="2593378778" sldId="5015"/>
            <ac:spMk id="5" creationId="{7052C023-2377-47D1-3DF0-3D8D9BF914CF}"/>
          </ac:spMkLst>
        </pc:spChg>
        <pc:spChg chg="mod">
          <ac:chgData name="Jacob, Karen (SPAC/PSPC) (elle-la / she-her)" userId="66e9cce0-e37b-4645-a907-f7690bd68dfb" providerId="ADAL" clId="{871AC57A-6E3B-4D85-BA02-8D6F5065EA89}" dt="2024-06-21T13:26:32.426" v="1335" actId="20577"/>
          <ac:spMkLst>
            <pc:docMk/>
            <pc:sldMk cId="2593378778" sldId="5015"/>
            <ac:spMk id="6" creationId="{1E046C2E-5794-1A98-BBEA-235FF863B218}"/>
          </ac:spMkLst>
        </pc:spChg>
        <pc:picChg chg="del">
          <ac:chgData name="Jacob, Karen (SPAC/PSPC) (elle-la / she-her)" userId="66e9cce0-e37b-4645-a907-f7690bd68dfb" providerId="ADAL" clId="{871AC57A-6E3B-4D85-BA02-8D6F5065EA89}" dt="2024-06-21T13:25:14.634" v="1282" actId="478"/>
          <ac:picMkLst>
            <pc:docMk/>
            <pc:sldMk cId="2593378778" sldId="5015"/>
            <ac:picMk id="9" creationId="{013C9C46-AB96-1193-BAA4-09DB126E5274}"/>
          </ac:picMkLst>
        </pc:picChg>
      </pc:sldChg>
      <pc:sldChg chg="modSp add mod">
        <pc:chgData name="Jacob, Karen (SPAC/PSPC) (elle-la / she-her)" userId="66e9cce0-e37b-4645-a907-f7690bd68dfb" providerId="ADAL" clId="{871AC57A-6E3B-4D85-BA02-8D6F5065EA89}" dt="2024-07-09T13:09:42.354" v="6344" actId="20577"/>
        <pc:sldMkLst>
          <pc:docMk/>
          <pc:sldMk cId="1008670027" sldId="5016"/>
        </pc:sldMkLst>
        <pc:spChg chg="mod">
          <ac:chgData name="Jacob, Karen (SPAC/PSPC) (elle-la / she-her)" userId="66e9cce0-e37b-4645-a907-f7690bd68dfb" providerId="ADAL" clId="{871AC57A-6E3B-4D85-BA02-8D6F5065EA89}" dt="2024-06-21T14:33:00.361" v="2876" actId="20577"/>
          <ac:spMkLst>
            <pc:docMk/>
            <pc:sldMk cId="1008670027" sldId="5016"/>
            <ac:spMk id="2" creationId="{459AFBF6-A3FE-12ED-8681-E058ECB7745D}"/>
          </ac:spMkLst>
        </pc:spChg>
        <pc:spChg chg="mod">
          <ac:chgData name="Jacob, Karen (SPAC/PSPC) (elle-la / she-her)" userId="66e9cce0-e37b-4645-a907-f7690bd68dfb" providerId="ADAL" clId="{871AC57A-6E3B-4D85-BA02-8D6F5065EA89}" dt="2024-07-09T13:09:42.354" v="6344" actId="20577"/>
          <ac:spMkLst>
            <pc:docMk/>
            <pc:sldMk cId="1008670027" sldId="5016"/>
            <ac:spMk id="3" creationId="{CC8B02F3-0C27-03C9-5D56-EC07236B6660}"/>
          </ac:spMkLst>
        </pc:spChg>
      </pc:sldChg>
      <pc:sldChg chg="modSp new mod">
        <pc:chgData name="Jacob, Karen (SPAC/PSPC) (elle-la / she-her)" userId="66e9cce0-e37b-4645-a907-f7690bd68dfb" providerId="ADAL" clId="{871AC57A-6E3B-4D85-BA02-8D6F5065EA89}" dt="2024-06-21T14:44:27.385" v="3223" actId="20577"/>
        <pc:sldMkLst>
          <pc:docMk/>
          <pc:sldMk cId="492946276" sldId="5017"/>
        </pc:sldMkLst>
        <pc:spChg chg="mod">
          <ac:chgData name="Jacob, Karen (SPAC/PSPC) (elle-la / she-her)" userId="66e9cce0-e37b-4645-a907-f7690bd68dfb" providerId="ADAL" clId="{871AC57A-6E3B-4D85-BA02-8D6F5065EA89}" dt="2024-06-21T14:44:27.385" v="3223" actId="20577"/>
          <ac:spMkLst>
            <pc:docMk/>
            <pc:sldMk cId="492946276" sldId="5017"/>
            <ac:spMk id="4" creationId="{288FC6AA-879C-CA09-C27C-5EB07939869C}"/>
          </ac:spMkLst>
        </pc:spChg>
      </pc:sldChg>
      <pc:sldChg chg="addSp delSp modSp new mod">
        <pc:chgData name="Jacob, Karen (SPAC/PSPC) (elle-la / she-her)" userId="66e9cce0-e37b-4645-a907-f7690bd68dfb" providerId="ADAL" clId="{871AC57A-6E3B-4D85-BA02-8D6F5065EA89}" dt="2024-07-09T18:30:11.750" v="7189" actId="20577"/>
        <pc:sldMkLst>
          <pc:docMk/>
          <pc:sldMk cId="3865673805" sldId="5018"/>
        </pc:sldMkLst>
        <pc:spChg chg="del">
          <ac:chgData name="Jacob, Karen (SPAC/PSPC) (elle-la / she-her)" userId="66e9cce0-e37b-4645-a907-f7690bd68dfb" providerId="ADAL" clId="{871AC57A-6E3B-4D85-BA02-8D6F5065EA89}" dt="2024-06-21T14:46:46.734" v="3284" actId="478"/>
          <ac:spMkLst>
            <pc:docMk/>
            <pc:sldMk cId="3865673805" sldId="5018"/>
            <ac:spMk id="2" creationId="{5E8D855E-41D9-F8D2-3FD8-80C0C0982206}"/>
          </ac:spMkLst>
        </pc:spChg>
        <pc:spChg chg="add mod">
          <ac:chgData name="Jacob, Karen (SPAC/PSPC) (elle-la / she-her)" userId="66e9cce0-e37b-4645-a907-f7690bd68dfb" providerId="ADAL" clId="{871AC57A-6E3B-4D85-BA02-8D6F5065EA89}" dt="2024-07-08T21:14:15.120" v="6284" actId="1038"/>
          <ac:spMkLst>
            <pc:docMk/>
            <pc:sldMk cId="3865673805" sldId="5018"/>
            <ac:spMk id="3" creationId="{13DCD74A-6998-F023-D695-DD9F937CE93F}"/>
          </ac:spMkLst>
        </pc:spChg>
        <pc:spChg chg="del">
          <ac:chgData name="Jacob, Karen (SPAC/PSPC) (elle-la / she-her)" userId="66e9cce0-e37b-4645-a907-f7690bd68dfb" providerId="ADAL" clId="{871AC57A-6E3B-4D85-BA02-8D6F5065EA89}" dt="2024-06-21T14:46:49.582" v="3285" actId="478"/>
          <ac:spMkLst>
            <pc:docMk/>
            <pc:sldMk cId="3865673805" sldId="5018"/>
            <ac:spMk id="3" creationId="{DCCBAEE0-BF6E-6FC9-741B-6B3DA8EF27BE}"/>
          </ac:spMkLst>
        </pc:spChg>
        <pc:spChg chg="mod">
          <ac:chgData name="Jacob, Karen (SPAC/PSPC) (elle-la / she-her)" userId="66e9cce0-e37b-4645-a907-f7690bd68dfb" providerId="ADAL" clId="{871AC57A-6E3B-4D85-BA02-8D6F5065EA89}" dt="2024-07-09T17:22:18.320" v="7128" actId="20577"/>
          <ac:spMkLst>
            <pc:docMk/>
            <pc:sldMk cId="3865673805" sldId="5018"/>
            <ac:spMk id="4" creationId="{5CFF1F66-C9F8-5499-40CC-51C8B8764C38}"/>
          </ac:spMkLst>
        </pc:spChg>
        <pc:spChg chg="add mod">
          <ac:chgData name="Jacob, Karen (SPAC/PSPC) (elle-la / she-her)" userId="66e9cce0-e37b-4645-a907-f7690bd68dfb" providerId="ADAL" clId="{871AC57A-6E3B-4D85-BA02-8D6F5065EA89}" dt="2024-07-08T21:14:15.120" v="6284" actId="1038"/>
          <ac:spMkLst>
            <pc:docMk/>
            <pc:sldMk cId="3865673805" sldId="5018"/>
            <ac:spMk id="5" creationId="{252009ED-9673-DE27-8712-DE8DAD6E21E0}"/>
          </ac:spMkLst>
        </pc:spChg>
        <pc:spChg chg="add mod">
          <ac:chgData name="Jacob, Karen (SPAC/PSPC) (elle-la / she-her)" userId="66e9cce0-e37b-4645-a907-f7690bd68dfb" providerId="ADAL" clId="{871AC57A-6E3B-4D85-BA02-8D6F5065EA89}" dt="2024-07-08T21:14:15.120" v="6284" actId="1038"/>
          <ac:spMkLst>
            <pc:docMk/>
            <pc:sldMk cId="3865673805" sldId="5018"/>
            <ac:spMk id="6" creationId="{E26D1384-8E76-9A8B-B475-DE870612B95D}"/>
          </ac:spMkLst>
        </pc:spChg>
        <pc:spChg chg="add mod">
          <ac:chgData name="Jacob, Karen (SPAC/PSPC) (elle-la / she-her)" userId="66e9cce0-e37b-4645-a907-f7690bd68dfb" providerId="ADAL" clId="{871AC57A-6E3B-4D85-BA02-8D6F5065EA89}" dt="2024-07-08T21:14:15.120" v="6284" actId="1038"/>
          <ac:spMkLst>
            <pc:docMk/>
            <pc:sldMk cId="3865673805" sldId="5018"/>
            <ac:spMk id="8" creationId="{23E99F4F-F3B2-6B21-75A4-29202AF2EDAE}"/>
          </ac:spMkLst>
        </pc:spChg>
        <pc:spChg chg="add mod">
          <ac:chgData name="Jacob, Karen (SPAC/PSPC) (elle-la / she-her)" userId="66e9cce0-e37b-4645-a907-f7690bd68dfb" providerId="ADAL" clId="{871AC57A-6E3B-4D85-BA02-8D6F5065EA89}" dt="2024-07-08T21:14:15.120" v="6284" actId="1038"/>
          <ac:spMkLst>
            <pc:docMk/>
            <pc:sldMk cId="3865673805" sldId="5018"/>
            <ac:spMk id="9" creationId="{0F0AB770-5A31-5D88-5DC8-C9BAB7804201}"/>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0" creationId="{E49B5449-959A-7DA6-0EA2-232C2BB62871}"/>
          </ac:spMkLst>
        </pc:spChg>
        <pc:spChg chg="add mod">
          <ac:chgData name="Jacob, Karen (SPAC/PSPC) (elle-la / she-her)" userId="66e9cce0-e37b-4645-a907-f7690bd68dfb" providerId="ADAL" clId="{871AC57A-6E3B-4D85-BA02-8D6F5065EA89}" dt="2024-07-08T21:14:15.120" v="6284" actId="1038"/>
          <ac:spMkLst>
            <pc:docMk/>
            <pc:sldMk cId="3865673805" sldId="5018"/>
            <ac:spMk id="11" creationId="{4168E461-9019-0256-7847-A59482620E08}"/>
          </ac:spMkLst>
        </pc:spChg>
        <pc:spChg chg="add mod ord">
          <ac:chgData name="Jacob, Karen (SPAC/PSPC) (elle-la / she-her)" userId="66e9cce0-e37b-4645-a907-f7690bd68dfb" providerId="ADAL" clId="{871AC57A-6E3B-4D85-BA02-8D6F5065EA89}" dt="2024-07-08T21:14:15.120" v="6284" actId="1038"/>
          <ac:spMkLst>
            <pc:docMk/>
            <pc:sldMk cId="3865673805" sldId="5018"/>
            <ac:spMk id="12" creationId="{641A1C60-574D-C16D-A641-07C3B4DFAF69}"/>
          </ac:spMkLst>
        </pc:spChg>
        <pc:spChg chg="add mod">
          <ac:chgData name="Jacob, Karen (SPAC/PSPC) (elle-la / she-her)" userId="66e9cce0-e37b-4645-a907-f7690bd68dfb" providerId="ADAL" clId="{871AC57A-6E3B-4D85-BA02-8D6F5065EA89}" dt="2024-07-08T21:14:15.120" v="6284" actId="1038"/>
          <ac:spMkLst>
            <pc:docMk/>
            <pc:sldMk cId="3865673805" sldId="5018"/>
            <ac:spMk id="14" creationId="{E8367094-C7DF-CBCF-AF5E-8E4489281A4B}"/>
          </ac:spMkLst>
        </pc:spChg>
        <pc:spChg chg="add mod">
          <ac:chgData name="Jacob, Karen (SPAC/PSPC) (elle-la / she-her)" userId="66e9cce0-e37b-4645-a907-f7690bd68dfb" providerId="ADAL" clId="{871AC57A-6E3B-4D85-BA02-8D6F5065EA89}" dt="2024-07-08T21:14:15.120" v="6284" actId="1038"/>
          <ac:spMkLst>
            <pc:docMk/>
            <pc:sldMk cId="3865673805" sldId="5018"/>
            <ac:spMk id="16" creationId="{60A4BDE2-E6E1-BEFA-6545-10F4A9C4B38E}"/>
          </ac:spMkLst>
        </pc:spChg>
        <pc:spChg chg="add mod">
          <ac:chgData name="Jacob, Karen (SPAC/PSPC) (elle-la / she-her)" userId="66e9cce0-e37b-4645-a907-f7690bd68dfb" providerId="ADAL" clId="{871AC57A-6E3B-4D85-BA02-8D6F5065EA89}" dt="2024-07-08T21:14:15.120" v="6284" actId="1038"/>
          <ac:spMkLst>
            <pc:docMk/>
            <pc:sldMk cId="3865673805" sldId="5018"/>
            <ac:spMk id="17" creationId="{BE2C8F62-70A2-F29B-59A9-A79C3CD3C98F}"/>
          </ac:spMkLst>
        </pc:spChg>
        <pc:spChg chg="add mod">
          <ac:chgData name="Jacob, Karen (SPAC/PSPC) (elle-la / she-her)" userId="66e9cce0-e37b-4645-a907-f7690bd68dfb" providerId="ADAL" clId="{871AC57A-6E3B-4D85-BA02-8D6F5065EA89}" dt="2024-07-08T21:14:15.120" v="6284" actId="1038"/>
          <ac:spMkLst>
            <pc:docMk/>
            <pc:sldMk cId="3865673805" sldId="5018"/>
            <ac:spMk id="19" creationId="{949E1EBB-B5B0-7C59-331C-F95BADD85A45}"/>
          </ac:spMkLst>
        </pc:spChg>
        <pc:spChg chg="add mod">
          <ac:chgData name="Jacob, Karen (SPAC/PSPC) (elle-la / she-her)" userId="66e9cce0-e37b-4645-a907-f7690bd68dfb" providerId="ADAL" clId="{871AC57A-6E3B-4D85-BA02-8D6F5065EA89}" dt="2024-07-08T21:14:15.120" v="6284" actId="1038"/>
          <ac:spMkLst>
            <pc:docMk/>
            <pc:sldMk cId="3865673805" sldId="5018"/>
            <ac:spMk id="20" creationId="{B3A81356-6D92-78A8-3DC1-7B7F6043FA67}"/>
          </ac:spMkLst>
        </pc:spChg>
        <pc:spChg chg="add mod">
          <ac:chgData name="Jacob, Karen (SPAC/PSPC) (elle-la / she-her)" userId="66e9cce0-e37b-4645-a907-f7690bd68dfb" providerId="ADAL" clId="{871AC57A-6E3B-4D85-BA02-8D6F5065EA89}" dt="2024-07-08T21:14:15.120" v="6284" actId="1038"/>
          <ac:spMkLst>
            <pc:docMk/>
            <pc:sldMk cId="3865673805" sldId="5018"/>
            <ac:spMk id="21" creationId="{8B26B707-9B50-D4B7-CE03-18C890FBEA1E}"/>
          </ac:spMkLst>
        </pc:spChg>
        <pc:spChg chg="add mod">
          <ac:chgData name="Jacob, Karen (SPAC/PSPC) (elle-la / she-her)" userId="66e9cce0-e37b-4645-a907-f7690bd68dfb" providerId="ADAL" clId="{871AC57A-6E3B-4D85-BA02-8D6F5065EA89}" dt="2024-07-08T21:14:15.120" v="6284" actId="1038"/>
          <ac:spMkLst>
            <pc:docMk/>
            <pc:sldMk cId="3865673805" sldId="5018"/>
            <ac:spMk id="22" creationId="{153AD99E-969D-CDB0-2F1A-03C010B4CA2F}"/>
          </ac:spMkLst>
        </pc:spChg>
        <pc:spChg chg="add mod">
          <ac:chgData name="Jacob, Karen (SPAC/PSPC) (elle-la / she-her)" userId="66e9cce0-e37b-4645-a907-f7690bd68dfb" providerId="ADAL" clId="{871AC57A-6E3B-4D85-BA02-8D6F5065EA89}" dt="2024-07-08T21:14:15.120" v="6284" actId="1038"/>
          <ac:spMkLst>
            <pc:docMk/>
            <pc:sldMk cId="3865673805" sldId="5018"/>
            <ac:spMk id="23" creationId="{5009506C-9AF6-D811-B74A-D0334300F2A4}"/>
          </ac:spMkLst>
        </pc:spChg>
        <pc:spChg chg="add mod">
          <ac:chgData name="Jacob, Karen (SPAC/PSPC) (elle-la / she-her)" userId="66e9cce0-e37b-4645-a907-f7690bd68dfb" providerId="ADAL" clId="{871AC57A-6E3B-4D85-BA02-8D6F5065EA89}" dt="2024-07-08T21:14:15.120" v="6284" actId="1038"/>
          <ac:spMkLst>
            <pc:docMk/>
            <pc:sldMk cId="3865673805" sldId="5018"/>
            <ac:spMk id="25" creationId="{BB5B164B-32E5-447E-7986-F11E54636D93}"/>
          </ac:spMkLst>
        </pc:spChg>
        <pc:spChg chg="add mod">
          <ac:chgData name="Jacob, Karen (SPAC/PSPC) (elle-la / she-her)" userId="66e9cce0-e37b-4645-a907-f7690bd68dfb" providerId="ADAL" clId="{871AC57A-6E3B-4D85-BA02-8D6F5065EA89}" dt="2024-07-08T21:14:15.120" v="6284" actId="1038"/>
          <ac:spMkLst>
            <pc:docMk/>
            <pc:sldMk cId="3865673805" sldId="5018"/>
            <ac:spMk id="26" creationId="{F54B95CE-09AF-C40B-10E8-38309EBC5D2C}"/>
          </ac:spMkLst>
        </pc:spChg>
        <pc:spChg chg="add mod">
          <ac:chgData name="Jacob, Karen (SPAC/PSPC) (elle-la / she-her)" userId="66e9cce0-e37b-4645-a907-f7690bd68dfb" providerId="ADAL" clId="{871AC57A-6E3B-4D85-BA02-8D6F5065EA89}" dt="2024-07-08T21:14:15.120" v="6284" actId="1038"/>
          <ac:spMkLst>
            <pc:docMk/>
            <pc:sldMk cId="3865673805" sldId="5018"/>
            <ac:spMk id="27" creationId="{00CEC2D0-B816-A4AA-98FF-42B3C53A244F}"/>
          </ac:spMkLst>
        </pc:spChg>
        <pc:spChg chg="add mod">
          <ac:chgData name="Jacob, Karen (SPAC/PSPC) (elle-la / she-her)" userId="66e9cce0-e37b-4645-a907-f7690bd68dfb" providerId="ADAL" clId="{871AC57A-6E3B-4D85-BA02-8D6F5065EA89}" dt="2024-07-08T21:14:15.120" v="6284" actId="1038"/>
          <ac:spMkLst>
            <pc:docMk/>
            <pc:sldMk cId="3865673805" sldId="5018"/>
            <ac:spMk id="28" creationId="{E24B5A4D-D3D0-4B88-EE19-E2BACA852406}"/>
          </ac:spMkLst>
        </pc:spChg>
        <pc:spChg chg="add mod">
          <ac:chgData name="Jacob, Karen (SPAC/PSPC) (elle-la / she-her)" userId="66e9cce0-e37b-4645-a907-f7690bd68dfb" providerId="ADAL" clId="{871AC57A-6E3B-4D85-BA02-8D6F5065EA89}" dt="2024-07-08T21:14:15.120" v="6284" actId="1038"/>
          <ac:spMkLst>
            <pc:docMk/>
            <pc:sldMk cId="3865673805" sldId="5018"/>
            <ac:spMk id="29" creationId="{EDA9D9ED-7A9A-1762-D5B3-9D3978C4998E}"/>
          </ac:spMkLst>
        </pc:spChg>
        <pc:spChg chg="add mod">
          <ac:chgData name="Jacob, Karen (SPAC/PSPC) (elle-la / she-her)" userId="66e9cce0-e37b-4645-a907-f7690bd68dfb" providerId="ADAL" clId="{871AC57A-6E3B-4D85-BA02-8D6F5065EA89}" dt="2024-07-08T21:14:15.120" v="6284" actId="1038"/>
          <ac:spMkLst>
            <pc:docMk/>
            <pc:sldMk cId="3865673805" sldId="5018"/>
            <ac:spMk id="31" creationId="{89EC5A0B-8CD2-4D4C-3E71-927F1BFDB370}"/>
          </ac:spMkLst>
        </pc:spChg>
        <pc:spChg chg="add mod">
          <ac:chgData name="Jacob, Karen (SPAC/PSPC) (elle-la / she-her)" userId="66e9cce0-e37b-4645-a907-f7690bd68dfb" providerId="ADAL" clId="{871AC57A-6E3B-4D85-BA02-8D6F5065EA89}" dt="2024-07-09T13:51:37.365" v="6653" actId="1076"/>
          <ac:spMkLst>
            <pc:docMk/>
            <pc:sldMk cId="3865673805" sldId="5018"/>
            <ac:spMk id="32" creationId="{CA864140-7987-A572-621D-80A839AD187F}"/>
          </ac:spMkLst>
        </pc:spChg>
        <pc:spChg chg="add mod">
          <ac:chgData name="Jacob, Karen (SPAC/PSPC) (elle-la / she-her)" userId="66e9cce0-e37b-4645-a907-f7690bd68dfb" providerId="ADAL" clId="{871AC57A-6E3B-4D85-BA02-8D6F5065EA89}" dt="2024-07-08T21:14:15.120" v="6284" actId="1038"/>
          <ac:spMkLst>
            <pc:docMk/>
            <pc:sldMk cId="3865673805" sldId="5018"/>
            <ac:spMk id="34" creationId="{DED31946-3A88-3B27-CAFD-D81126891350}"/>
          </ac:spMkLst>
        </pc:spChg>
        <pc:spChg chg="add mod">
          <ac:chgData name="Jacob, Karen (SPAC/PSPC) (elle-la / she-her)" userId="66e9cce0-e37b-4645-a907-f7690bd68dfb" providerId="ADAL" clId="{871AC57A-6E3B-4D85-BA02-8D6F5065EA89}" dt="2024-07-08T21:14:15.120" v="6284" actId="1038"/>
          <ac:spMkLst>
            <pc:docMk/>
            <pc:sldMk cId="3865673805" sldId="5018"/>
            <ac:spMk id="35" creationId="{0AD30AF3-6F71-6556-CAD0-415C4A0ED505}"/>
          </ac:spMkLst>
        </pc:spChg>
        <pc:spChg chg="add mod">
          <ac:chgData name="Jacob, Karen (SPAC/PSPC) (elle-la / she-her)" userId="66e9cce0-e37b-4645-a907-f7690bd68dfb" providerId="ADAL" clId="{871AC57A-6E3B-4D85-BA02-8D6F5065EA89}" dt="2024-07-08T21:14:15.120" v="6284" actId="1038"/>
          <ac:spMkLst>
            <pc:docMk/>
            <pc:sldMk cId="3865673805" sldId="5018"/>
            <ac:spMk id="36" creationId="{5C90F134-E0D2-DCDE-ECD6-B419D029FA78}"/>
          </ac:spMkLst>
        </pc:spChg>
        <pc:spChg chg="add mod">
          <ac:chgData name="Jacob, Karen (SPAC/PSPC) (elle-la / she-her)" userId="66e9cce0-e37b-4645-a907-f7690bd68dfb" providerId="ADAL" clId="{871AC57A-6E3B-4D85-BA02-8D6F5065EA89}" dt="2024-07-08T21:14:15.120" v="6284" actId="1038"/>
          <ac:spMkLst>
            <pc:docMk/>
            <pc:sldMk cId="3865673805" sldId="5018"/>
            <ac:spMk id="37" creationId="{18901499-BBEF-67D4-3F59-37A24ED0BEED}"/>
          </ac:spMkLst>
        </pc:spChg>
        <pc:spChg chg="add mod">
          <ac:chgData name="Jacob, Karen (SPAC/PSPC) (elle-la / she-her)" userId="66e9cce0-e37b-4645-a907-f7690bd68dfb" providerId="ADAL" clId="{871AC57A-6E3B-4D85-BA02-8D6F5065EA89}" dt="2024-07-08T21:14:15.120" v="6284" actId="1038"/>
          <ac:spMkLst>
            <pc:docMk/>
            <pc:sldMk cId="3865673805" sldId="5018"/>
            <ac:spMk id="38" creationId="{C4B3ACDF-F9DE-5445-B161-1597312A56A1}"/>
          </ac:spMkLst>
        </pc:spChg>
        <pc:spChg chg="add mod">
          <ac:chgData name="Jacob, Karen (SPAC/PSPC) (elle-la / she-her)" userId="66e9cce0-e37b-4645-a907-f7690bd68dfb" providerId="ADAL" clId="{871AC57A-6E3B-4D85-BA02-8D6F5065EA89}" dt="2024-07-08T21:14:15.120" v="6284" actId="1038"/>
          <ac:spMkLst>
            <pc:docMk/>
            <pc:sldMk cId="3865673805" sldId="5018"/>
            <ac:spMk id="40" creationId="{64D76BAA-855E-6319-281A-AEEFD5B609B2}"/>
          </ac:spMkLst>
        </pc:spChg>
        <pc:spChg chg="add mod">
          <ac:chgData name="Jacob, Karen (SPAC/PSPC) (elle-la / she-her)" userId="66e9cce0-e37b-4645-a907-f7690bd68dfb" providerId="ADAL" clId="{871AC57A-6E3B-4D85-BA02-8D6F5065EA89}" dt="2024-07-08T21:14:15.120" v="6284" actId="1038"/>
          <ac:spMkLst>
            <pc:docMk/>
            <pc:sldMk cId="3865673805" sldId="5018"/>
            <ac:spMk id="41" creationId="{D4C84D6D-4280-615B-12A1-87A6343C60F4}"/>
          </ac:spMkLst>
        </pc:spChg>
        <pc:spChg chg="add mod">
          <ac:chgData name="Jacob, Karen (SPAC/PSPC) (elle-la / she-her)" userId="66e9cce0-e37b-4645-a907-f7690bd68dfb" providerId="ADAL" clId="{871AC57A-6E3B-4D85-BA02-8D6F5065EA89}" dt="2024-07-09T13:37:01.888" v="6374" actId="1076"/>
          <ac:spMkLst>
            <pc:docMk/>
            <pc:sldMk cId="3865673805" sldId="5018"/>
            <ac:spMk id="47" creationId="{6F061153-9151-0D2F-6C2F-16E75EEC8F0B}"/>
          </ac:spMkLst>
        </pc:spChg>
        <pc:spChg chg="add mod">
          <ac:chgData name="Jacob, Karen (SPAC/PSPC) (elle-la / she-her)" userId="66e9cce0-e37b-4645-a907-f7690bd68dfb" providerId="ADAL" clId="{871AC57A-6E3B-4D85-BA02-8D6F5065EA89}" dt="2024-07-09T13:39:09.879" v="6449" actId="1076"/>
          <ac:spMkLst>
            <pc:docMk/>
            <pc:sldMk cId="3865673805" sldId="5018"/>
            <ac:spMk id="48" creationId="{6B16CA0D-CB1F-D6ED-89BE-F6616AE840BF}"/>
          </ac:spMkLst>
        </pc:spChg>
        <pc:spChg chg="add del mod">
          <ac:chgData name="Jacob, Karen (SPAC/PSPC) (elle-la / she-her)" userId="66e9cce0-e37b-4645-a907-f7690bd68dfb" providerId="ADAL" clId="{871AC57A-6E3B-4D85-BA02-8D6F5065EA89}" dt="2024-07-09T13:51:15.187" v="6650" actId="478"/>
          <ac:spMkLst>
            <pc:docMk/>
            <pc:sldMk cId="3865673805" sldId="5018"/>
            <ac:spMk id="49" creationId="{374790EF-3C2A-7A40-E4D7-CD6E7D25B5F5}"/>
          </ac:spMkLst>
        </pc:spChg>
        <pc:spChg chg="add del mod">
          <ac:chgData name="Jacob, Karen (SPAC/PSPC) (elle-la / she-her)" userId="66e9cce0-e37b-4645-a907-f7690bd68dfb" providerId="ADAL" clId="{871AC57A-6E3B-4D85-BA02-8D6F5065EA89}" dt="2024-07-09T13:51:12.137" v="6649" actId="478"/>
          <ac:spMkLst>
            <pc:docMk/>
            <pc:sldMk cId="3865673805" sldId="5018"/>
            <ac:spMk id="50" creationId="{9F54C5C7-F798-2030-76A2-BBFF5C41ACDD}"/>
          </ac:spMkLst>
        </pc:spChg>
        <pc:spChg chg="add mod">
          <ac:chgData name="Jacob, Karen (SPAC/PSPC) (elle-la / she-her)" userId="66e9cce0-e37b-4645-a907-f7690bd68dfb" providerId="ADAL" clId="{871AC57A-6E3B-4D85-BA02-8D6F5065EA89}" dt="2024-07-09T17:22:47.105" v="7132" actId="1076"/>
          <ac:spMkLst>
            <pc:docMk/>
            <pc:sldMk cId="3865673805" sldId="5018"/>
            <ac:spMk id="51" creationId="{F808FB0B-95FB-588D-74D4-560CE24F641C}"/>
          </ac:spMkLst>
        </pc:spChg>
        <pc:spChg chg="add mod">
          <ac:chgData name="Jacob, Karen (SPAC/PSPC) (elle-la / she-her)" userId="66e9cce0-e37b-4645-a907-f7690bd68dfb" providerId="ADAL" clId="{871AC57A-6E3B-4D85-BA02-8D6F5065EA89}" dt="2024-07-09T17:22:43.705" v="7131" actId="1076"/>
          <ac:spMkLst>
            <pc:docMk/>
            <pc:sldMk cId="3865673805" sldId="5018"/>
            <ac:spMk id="52" creationId="{FB1CCAB6-4244-F5C1-D619-C44E7D9FA0E1}"/>
          </ac:spMkLst>
        </pc:spChg>
        <pc:spChg chg="add mod">
          <ac:chgData name="Jacob, Karen (SPAC/PSPC) (elle-la / she-her)" userId="66e9cce0-e37b-4645-a907-f7690bd68dfb" providerId="ADAL" clId="{871AC57A-6E3B-4D85-BA02-8D6F5065EA89}" dt="2024-07-09T17:22:37.063" v="7130" actId="1076"/>
          <ac:spMkLst>
            <pc:docMk/>
            <pc:sldMk cId="3865673805" sldId="5018"/>
            <ac:spMk id="53" creationId="{77D85CA5-B859-31BE-A852-18BCBED95D02}"/>
          </ac:spMkLst>
        </pc:spChg>
        <pc:spChg chg="add mod">
          <ac:chgData name="Jacob, Karen (SPAC/PSPC) (elle-la / she-her)" userId="66e9cce0-e37b-4645-a907-f7690bd68dfb" providerId="ADAL" clId="{871AC57A-6E3B-4D85-BA02-8D6F5065EA89}" dt="2024-07-09T17:22:31.104" v="7129" actId="1076"/>
          <ac:spMkLst>
            <pc:docMk/>
            <pc:sldMk cId="3865673805" sldId="5018"/>
            <ac:spMk id="54" creationId="{D1AF6197-0772-06C0-D39E-B685CA3A6EAD}"/>
          </ac:spMkLst>
        </pc:spChg>
        <pc:spChg chg="add mod">
          <ac:chgData name="Jacob, Karen (SPAC/PSPC) (elle-la / she-her)" userId="66e9cce0-e37b-4645-a907-f7690bd68dfb" providerId="ADAL" clId="{871AC57A-6E3B-4D85-BA02-8D6F5065EA89}" dt="2024-07-09T18:29:51.805" v="7187" actId="13926"/>
          <ac:spMkLst>
            <pc:docMk/>
            <pc:sldMk cId="3865673805" sldId="5018"/>
            <ac:spMk id="55" creationId="{7A1A59FF-8821-4234-BA1F-86BE5197E628}"/>
          </ac:spMkLst>
        </pc:spChg>
        <pc:spChg chg="add mod">
          <ac:chgData name="Jacob, Karen (SPAC/PSPC) (elle-la / she-her)" userId="66e9cce0-e37b-4645-a907-f7690bd68dfb" providerId="ADAL" clId="{871AC57A-6E3B-4D85-BA02-8D6F5065EA89}" dt="2024-07-09T13:52:01.294" v="6655" actId="1076"/>
          <ac:spMkLst>
            <pc:docMk/>
            <pc:sldMk cId="3865673805" sldId="5018"/>
            <ac:spMk id="56" creationId="{ACA4AAD1-FCBE-4C24-0B3D-DE15D577F00F}"/>
          </ac:spMkLst>
        </pc:spChg>
        <pc:spChg chg="add mod">
          <ac:chgData name="Jacob, Karen (SPAC/PSPC) (elle-la / she-her)" userId="66e9cce0-e37b-4645-a907-f7690bd68dfb" providerId="ADAL" clId="{871AC57A-6E3B-4D85-BA02-8D6F5065EA89}" dt="2024-07-09T18:30:11.750" v="7189" actId="20577"/>
          <ac:spMkLst>
            <pc:docMk/>
            <pc:sldMk cId="3865673805" sldId="5018"/>
            <ac:spMk id="57" creationId="{80C64189-743E-1D6F-BC38-898A98A32465}"/>
          </ac:spMkLst>
        </pc:spChg>
        <pc:spChg chg="add mod">
          <ac:chgData name="Jacob, Karen (SPAC/PSPC) (elle-la / she-her)" userId="66e9cce0-e37b-4645-a907-f7690bd68dfb" providerId="ADAL" clId="{871AC57A-6E3B-4D85-BA02-8D6F5065EA89}" dt="2024-07-09T13:52:11.269" v="6657" actId="1076"/>
          <ac:spMkLst>
            <pc:docMk/>
            <pc:sldMk cId="3865673805" sldId="5018"/>
            <ac:spMk id="58" creationId="{62D48345-9A67-33B9-271D-D2722B58526B}"/>
          </ac:spMkLst>
        </pc:spChg>
        <pc:spChg chg="add mod">
          <ac:chgData name="Jacob, Karen (SPAC/PSPC) (elle-la / she-her)" userId="66e9cce0-e37b-4645-a907-f7690bd68dfb" providerId="ADAL" clId="{871AC57A-6E3B-4D85-BA02-8D6F5065EA89}" dt="2024-07-09T17:22:00.164" v="7118" actId="1037"/>
          <ac:spMkLst>
            <pc:docMk/>
            <pc:sldMk cId="3865673805" sldId="5018"/>
            <ac:spMk id="59" creationId="{9EEF3366-3763-B493-96F0-E3984E5F4223}"/>
          </ac:spMkLst>
        </pc:spChg>
        <pc:graphicFrameChg chg="add del mod modGraphic">
          <ac:chgData name="Jacob, Karen (SPAC/PSPC) (elle-la / she-her)" userId="66e9cce0-e37b-4645-a907-f7690bd68dfb" providerId="ADAL" clId="{871AC57A-6E3B-4D85-BA02-8D6F5065EA89}" dt="2024-06-21T15:31:33.342" v="4830" actId="478"/>
          <ac:graphicFrameMkLst>
            <pc:docMk/>
            <pc:sldMk cId="3865673805" sldId="5018"/>
            <ac:graphicFrameMk id="5" creationId="{34189831-7EFC-276C-7FD6-74C024D9DF33}"/>
          </ac:graphicFrameMkLst>
        </pc:graphicFrameChg>
        <pc:cxnChg chg="add mod ord">
          <ac:chgData name="Jacob, Karen (SPAC/PSPC) (elle-la / she-her)" userId="66e9cce0-e37b-4645-a907-f7690bd68dfb" providerId="ADAL" clId="{871AC57A-6E3B-4D85-BA02-8D6F5065EA89}" dt="2024-07-08T21:14:15.120" v="6284" actId="1038"/>
          <ac:cxnSpMkLst>
            <pc:docMk/>
            <pc:sldMk cId="3865673805" sldId="5018"/>
            <ac:cxnSpMk id="2" creationId="{C96F2F8A-400E-A20B-385F-5F541FA16016}"/>
          </ac:cxnSpMkLst>
        </pc:cxnChg>
        <pc:cxnChg chg="add mod ord">
          <ac:chgData name="Jacob, Karen (SPAC/PSPC) (elle-la / she-her)" userId="66e9cce0-e37b-4645-a907-f7690bd68dfb" providerId="ADAL" clId="{871AC57A-6E3B-4D85-BA02-8D6F5065EA89}" dt="2024-07-08T21:14:26.004" v="6286" actId="14100"/>
          <ac:cxnSpMkLst>
            <pc:docMk/>
            <pc:sldMk cId="3865673805" sldId="5018"/>
            <ac:cxnSpMk id="7" creationId="{2BE5BEB0-7BD4-29A1-5362-0AE998BE7E93}"/>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3" creationId="{10E575E7-B168-6981-57EE-8C43273FD31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15" creationId="{7983B277-C430-B365-49FF-CBA08A0541FA}"/>
          </ac:cxnSpMkLst>
        </pc:cxnChg>
        <pc:cxnChg chg="add mod ord">
          <ac:chgData name="Jacob, Karen (SPAC/PSPC) (elle-la / she-her)" userId="66e9cce0-e37b-4645-a907-f7690bd68dfb" providerId="ADAL" clId="{871AC57A-6E3B-4D85-BA02-8D6F5065EA89}" dt="2024-07-08T21:14:15.120" v="6284" actId="1038"/>
          <ac:cxnSpMkLst>
            <pc:docMk/>
            <pc:sldMk cId="3865673805" sldId="5018"/>
            <ac:cxnSpMk id="18" creationId="{F6F2A91A-CE4A-5B32-5011-9E94214D716D}"/>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24" creationId="{4318A952-A3B7-1777-6453-931747D02D1E}"/>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0" creationId="{1915A0C8-9419-C7AD-D3E1-83CFAEC77A44}"/>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3" creationId="{D19EECE6-254E-49CD-0954-2FF1EB8394B8}"/>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39" creationId="{4BB8F730-2294-2BB6-31E9-6C5CD1F8760C}"/>
          </ac:cxnSpMkLst>
        </pc:cxnChg>
        <pc:cxnChg chg="add mod">
          <ac:chgData name="Jacob, Karen (SPAC/PSPC) (elle-la / she-her)" userId="66e9cce0-e37b-4645-a907-f7690bd68dfb" providerId="ADAL" clId="{871AC57A-6E3B-4D85-BA02-8D6F5065EA89}" dt="2024-07-08T21:14:15.120" v="6284" actId="1038"/>
          <ac:cxnSpMkLst>
            <pc:docMk/>
            <pc:sldMk cId="3865673805" sldId="5018"/>
            <ac:cxnSpMk id="42" creationId="{13A6E390-93FA-DA58-F68C-B5F177D1BD2C}"/>
          </ac:cxnSpMkLst>
        </pc:cxnChg>
        <pc:cxnChg chg="add mod">
          <ac:chgData name="Jacob, Karen (SPAC/PSPC) (elle-la / she-her)" userId="66e9cce0-e37b-4645-a907-f7690bd68dfb" providerId="ADAL" clId="{871AC57A-6E3B-4D85-BA02-8D6F5065EA89}" dt="2024-07-08T21:14:21.279" v="6285" actId="14100"/>
          <ac:cxnSpMkLst>
            <pc:docMk/>
            <pc:sldMk cId="3865673805" sldId="5018"/>
            <ac:cxnSpMk id="43" creationId="{7B3B1AD4-3FA7-7099-D700-61286027097C}"/>
          </ac:cxnSpMkLst>
        </pc:cxnChg>
        <pc:cxnChg chg="add del mod">
          <ac:chgData name="Jacob, Karen (SPAC/PSPC) (elle-la / she-her)" userId="66e9cce0-e37b-4645-a907-f7690bd68dfb" providerId="ADAL" clId="{871AC57A-6E3B-4D85-BA02-8D6F5065EA89}" dt="2024-07-09T17:20:56.980" v="7101" actId="11529"/>
          <ac:cxnSpMkLst>
            <pc:docMk/>
            <pc:sldMk cId="3865673805" sldId="5018"/>
            <ac:cxnSpMk id="61" creationId="{21598DBE-DB55-C9D4-E3B3-F2675A8A507F}"/>
          </ac:cxnSpMkLst>
        </pc:cxnChg>
        <pc:cxnChg chg="add mod">
          <ac:chgData name="Jacob, Karen (SPAC/PSPC) (elle-la / she-her)" userId="66e9cce0-e37b-4645-a907-f7690bd68dfb" providerId="ADAL" clId="{871AC57A-6E3B-4D85-BA02-8D6F5065EA89}" dt="2024-07-09T17:22:08.040" v="7120" actId="14100"/>
          <ac:cxnSpMkLst>
            <pc:docMk/>
            <pc:sldMk cId="3865673805" sldId="5018"/>
            <ac:cxnSpMk id="63" creationId="{B32AA51F-1724-BA56-E823-B032DD85AA41}"/>
          </ac:cxnSpMkLst>
        </pc:cxnChg>
      </pc:sldChg>
      <pc:sldChg chg="modSp new mod">
        <pc:chgData name="Jacob, Karen (SPAC/PSPC) (elle-la / she-her)" userId="66e9cce0-e37b-4645-a907-f7690bd68dfb" providerId="ADAL" clId="{871AC57A-6E3B-4D85-BA02-8D6F5065EA89}" dt="2024-06-21T15:18:15.641" v="4370" actId="20577"/>
        <pc:sldMkLst>
          <pc:docMk/>
          <pc:sldMk cId="4127869610" sldId="5019"/>
        </pc:sldMkLst>
        <pc:spChg chg="mod">
          <ac:chgData name="Jacob, Karen (SPAC/PSPC) (elle-la / she-her)" userId="66e9cce0-e37b-4645-a907-f7690bd68dfb" providerId="ADAL" clId="{871AC57A-6E3B-4D85-BA02-8D6F5065EA89}" dt="2024-06-21T14:47:28.555" v="3337" actId="20577"/>
          <ac:spMkLst>
            <pc:docMk/>
            <pc:sldMk cId="4127869610" sldId="5019"/>
            <ac:spMk id="2" creationId="{DDEB6BE0-BB00-FDB4-9881-EC44FA117B0C}"/>
          </ac:spMkLst>
        </pc:spChg>
        <pc:spChg chg="mod">
          <ac:chgData name="Jacob, Karen (SPAC/PSPC) (elle-la / she-her)" userId="66e9cce0-e37b-4645-a907-f7690bd68dfb" providerId="ADAL" clId="{871AC57A-6E3B-4D85-BA02-8D6F5065EA89}" dt="2024-06-21T15:18:15.641" v="4370" actId="20577"/>
          <ac:spMkLst>
            <pc:docMk/>
            <pc:sldMk cId="4127869610" sldId="5019"/>
            <ac:spMk id="4" creationId="{758B8BAE-A0B0-CD00-6894-D89E72C685C9}"/>
          </ac:spMkLst>
        </pc:spChg>
      </pc:sldChg>
      <pc:sldChg chg="add mod modShow">
        <pc:chgData name="Jacob, Karen (SPAC/PSPC) (elle-la / she-her)" userId="66e9cce0-e37b-4645-a907-f7690bd68dfb" providerId="ADAL" clId="{871AC57A-6E3B-4D85-BA02-8D6F5065EA89}" dt="2024-06-21T15:14:37.008" v="4234" actId="729"/>
        <pc:sldMkLst>
          <pc:docMk/>
          <pc:sldMk cId="1994238897" sldId="5020"/>
        </pc:sldMkLst>
      </pc:sldChg>
      <pc:sldChg chg="add del">
        <pc:chgData name="Jacob, Karen (SPAC/PSPC) (elle-la / she-her)" userId="66e9cce0-e37b-4645-a907-f7690bd68dfb" providerId="ADAL" clId="{871AC57A-6E3B-4D85-BA02-8D6F5065EA89}" dt="2024-06-21T15:10:01.329" v="4070"/>
        <pc:sldMkLst>
          <pc:docMk/>
          <pc:sldMk cId="1305863165" sldId="5021"/>
        </pc:sldMkLst>
      </pc:sldChg>
      <pc:sldChg chg="new del">
        <pc:chgData name="Jacob, Karen (SPAC/PSPC) (elle-la / she-her)" userId="66e9cce0-e37b-4645-a907-f7690bd68dfb" providerId="ADAL" clId="{871AC57A-6E3B-4D85-BA02-8D6F5065EA89}" dt="2024-06-21T15:19:18.913" v="4376" actId="47"/>
        <pc:sldMkLst>
          <pc:docMk/>
          <pc:sldMk cId="1841768326" sldId="5021"/>
        </pc:sldMkLst>
      </pc:sldChg>
      <pc:sldChg chg="modSp new mod">
        <pc:chgData name="Jacob, Karen (SPAC/PSPC) (elle-la / she-her)" userId="66e9cce0-e37b-4645-a907-f7690bd68dfb" providerId="ADAL" clId="{871AC57A-6E3B-4D85-BA02-8D6F5065EA89}" dt="2024-06-21T15:27:09.381" v="4708" actId="20577"/>
        <pc:sldMkLst>
          <pc:docMk/>
          <pc:sldMk cId="3253347275" sldId="5021"/>
        </pc:sldMkLst>
        <pc:spChg chg="mod">
          <ac:chgData name="Jacob, Karen (SPAC/PSPC) (elle-la / she-her)" userId="66e9cce0-e37b-4645-a907-f7690bd68dfb" providerId="ADAL" clId="{871AC57A-6E3B-4D85-BA02-8D6F5065EA89}" dt="2024-06-21T15:27:09.381" v="4708" actId="20577"/>
          <ac:spMkLst>
            <pc:docMk/>
            <pc:sldMk cId="3253347275" sldId="5021"/>
            <ac:spMk id="2" creationId="{ECE54B41-AB8B-A396-0E3C-85310818D719}"/>
          </ac:spMkLst>
        </pc:spChg>
        <pc:spChg chg="mod">
          <ac:chgData name="Jacob, Karen (SPAC/PSPC) (elle-la / she-her)" userId="66e9cce0-e37b-4645-a907-f7690bd68dfb" providerId="ADAL" clId="{871AC57A-6E3B-4D85-BA02-8D6F5065EA89}" dt="2024-06-21T15:23:10.502" v="4468" actId="2710"/>
          <ac:spMkLst>
            <pc:docMk/>
            <pc:sldMk cId="3253347275" sldId="5021"/>
            <ac:spMk id="4" creationId="{0CE857C5-5305-BDE2-C963-749573E23040}"/>
          </ac:spMkLst>
        </pc:spChg>
      </pc:sldChg>
      <pc:sldChg chg="add del">
        <pc:chgData name="Jacob, Karen (SPAC/PSPC) (elle-la / she-her)" userId="66e9cce0-e37b-4645-a907-f7690bd68dfb" providerId="ADAL" clId="{871AC57A-6E3B-4D85-BA02-8D6F5065EA89}" dt="2024-06-21T15:10:12.424" v="4073"/>
        <pc:sldMkLst>
          <pc:docMk/>
          <pc:sldMk cId="4238139827" sldId="5021"/>
        </pc:sldMkLst>
      </pc:sldChg>
    </pc:docChg>
  </pc:docChgLst>
  <pc:docChgLst>
    <pc:chgData name="Yassa, Marie-Catherine (SPAC/PSPC)" userId="S::marie-catherine.yassa@tpsgc-pwgsc.gc.ca::267c140e-fceb-445b-84ed-5b781d522844" providerId="AD" clId="Web-{50A577EB-72A1-10A7-CD5C-9633A34A1E57}"/>
    <pc:docChg chg="modSld">
      <pc:chgData name="Yassa, Marie-Catherine (SPAC/PSPC)" userId="S::marie-catherine.yassa@tpsgc-pwgsc.gc.ca::267c140e-fceb-445b-84ed-5b781d522844" providerId="AD" clId="Web-{50A577EB-72A1-10A7-CD5C-9633A34A1E57}" dt="2024-06-20T18:37:16.691" v="1" actId="14100"/>
      <pc:docMkLst>
        <pc:docMk/>
      </pc:docMkLst>
      <pc:sldChg chg="modSp">
        <pc:chgData name="Yassa, Marie-Catherine (SPAC/PSPC)" userId="S::marie-catherine.yassa@tpsgc-pwgsc.gc.ca::267c140e-fceb-445b-84ed-5b781d522844" providerId="AD" clId="Web-{50A577EB-72A1-10A7-CD5C-9633A34A1E57}" dt="2024-06-20T18:35:24.845" v="0"/>
        <pc:sldMkLst>
          <pc:docMk/>
          <pc:sldMk cId="1717449089" sldId="5011"/>
        </pc:sldMkLst>
        <pc:spChg chg="mod">
          <ac:chgData name="Yassa, Marie-Catherine (SPAC/PSPC)" userId="S::marie-catherine.yassa@tpsgc-pwgsc.gc.ca::267c140e-fceb-445b-84ed-5b781d522844" providerId="AD" clId="Web-{50A577EB-72A1-10A7-CD5C-9633A34A1E57}" dt="2024-06-20T18:35:24.845" v="0"/>
          <ac:spMkLst>
            <pc:docMk/>
            <pc:sldMk cId="1717449089" sldId="5011"/>
            <ac:spMk id="3" creationId="{DE69AC7C-2B0D-CF31-48EE-53792B4D724E}"/>
          </ac:spMkLst>
        </pc:spChg>
      </pc:sldChg>
      <pc:sldChg chg="modSp">
        <pc:chgData name="Yassa, Marie-Catherine (SPAC/PSPC)" userId="S::marie-catherine.yassa@tpsgc-pwgsc.gc.ca::267c140e-fceb-445b-84ed-5b781d522844" providerId="AD" clId="Web-{50A577EB-72A1-10A7-CD5C-9633A34A1E57}" dt="2024-06-20T18:37:16.691" v="1" actId="14100"/>
        <pc:sldMkLst>
          <pc:docMk/>
          <pc:sldMk cId="1053501532" sldId="5012"/>
        </pc:sldMkLst>
        <pc:spChg chg="mod">
          <ac:chgData name="Yassa, Marie-Catherine (SPAC/PSPC)" userId="S::marie-catherine.yassa@tpsgc-pwgsc.gc.ca::267c140e-fceb-445b-84ed-5b781d522844" providerId="AD" clId="Web-{50A577EB-72A1-10A7-CD5C-9633A34A1E57}" dt="2024-06-20T18:37:16.691" v="1" actId="14100"/>
          <ac:spMkLst>
            <pc:docMk/>
            <pc:sldMk cId="1053501532" sldId="5012"/>
            <ac:spMk id="5" creationId="{EA7F99B2-4BB8-F561-E89D-85B8AF383FB1}"/>
          </ac:spMkLst>
        </pc:spChg>
      </pc:sldChg>
    </pc:docChg>
  </pc:docChgLst>
  <pc:docChgLst>
    <pc:chgData name="Elgee, Jeffrey (SPAC/PSPC)" userId="S::jeffrey.elgee@tpsgc-pwgsc.gc.ca::e10f0e9c-c03f-4fde-9113-11216b420c44" providerId="AD" clId="Web-{73F3E55C-C504-794F-9A03-CF4AD1E1811A}"/>
    <pc:docChg chg="addSld modSld">
      <pc:chgData name="Elgee, Jeffrey (SPAC/PSPC)" userId="S::jeffrey.elgee@tpsgc-pwgsc.gc.ca::e10f0e9c-c03f-4fde-9113-11216b420c44" providerId="AD" clId="Web-{73F3E55C-C504-794F-9A03-CF4AD1E1811A}" dt="2024-06-10T19:45:19.157" v="124" actId="20577"/>
      <pc:docMkLst>
        <pc:docMk/>
      </pc:docMkLst>
      <pc:sldChg chg="modSp">
        <pc:chgData name="Elgee, Jeffrey (SPAC/PSPC)" userId="S::jeffrey.elgee@tpsgc-pwgsc.gc.ca::e10f0e9c-c03f-4fde-9113-11216b420c44" providerId="AD" clId="Web-{73F3E55C-C504-794F-9A03-CF4AD1E1811A}" dt="2024-06-10T19:06:18.949" v="30" actId="20577"/>
        <pc:sldMkLst>
          <pc:docMk/>
          <pc:sldMk cId="3291831031" sldId="4970"/>
        </pc:sldMkLst>
        <pc:spChg chg="mod">
          <ac:chgData name="Elgee, Jeffrey (SPAC/PSPC)" userId="S::jeffrey.elgee@tpsgc-pwgsc.gc.ca::e10f0e9c-c03f-4fde-9113-11216b420c44" providerId="AD" clId="Web-{73F3E55C-C504-794F-9A03-CF4AD1E1811A}" dt="2024-06-10T19:06:18.949" v="30" actId="20577"/>
          <ac:spMkLst>
            <pc:docMk/>
            <pc:sldMk cId="3291831031" sldId="4970"/>
            <ac:spMk id="6" creationId="{1E046C2E-5794-1A98-BBEA-235FF863B218}"/>
          </ac:spMkLst>
        </pc:spChg>
      </pc:sldChg>
      <pc:sldChg chg="modSp">
        <pc:chgData name="Elgee, Jeffrey (SPAC/PSPC)" userId="S::jeffrey.elgee@tpsgc-pwgsc.gc.ca::e10f0e9c-c03f-4fde-9113-11216b420c44" providerId="AD" clId="Web-{73F3E55C-C504-794F-9A03-CF4AD1E1811A}" dt="2024-06-10T19:33:04.554" v="38" actId="20577"/>
        <pc:sldMkLst>
          <pc:docMk/>
          <pc:sldMk cId="388099589" sldId="4992"/>
        </pc:sldMkLst>
        <pc:spChg chg="mod">
          <ac:chgData name="Elgee, Jeffrey (SPAC/PSPC)" userId="S::jeffrey.elgee@tpsgc-pwgsc.gc.ca::e10f0e9c-c03f-4fde-9113-11216b420c44" providerId="AD" clId="Web-{73F3E55C-C504-794F-9A03-CF4AD1E1811A}" dt="2024-06-10T19:33:04.554" v="38" actId="20577"/>
          <ac:spMkLst>
            <pc:docMk/>
            <pc:sldMk cId="388099589" sldId="4992"/>
            <ac:spMk id="15" creationId="{2A224E51-C8E2-AF04-0A70-65F6548C9FA5}"/>
          </ac:spMkLst>
        </pc:spChg>
      </pc:sldChg>
      <pc:sldChg chg="addSp delSp modSp add replId">
        <pc:chgData name="Elgee, Jeffrey (SPAC/PSPC)" userId="S::jeffrey.elgee@tpsgc-pwgsc.gc.ca::e10f0e9c-c03f-4fde-9113-11216b420c44" providerId="AD" clId="Web-{73F3E55C-C504-794F-9A03-CF4AD1E1811A}" dt="2024-06-10T19:45:19.157" v="124" actId="20577"/>
        <pc:sldMkLst>
          <pc:docMk/>
          <pc:sldMk cId="1228329092" sldId="5013"/>
        </pc:sldMkLst>
        <pc:spChg chg="add mod">
          <ac:chgData name="Elgee, Jeffrey (SPAC/PSPC)" userId="S::jeffrey.elgee@tpsgc-pwgsc.gc.ca::e10f0e9c-c03f-4fde-9113-11216b420c44" providerId="AD" clId="Web-{73F3E55C-C504-794F-9A03-CF4AD1E1811A}" dt="2024-06-10T19:45:19.157" v="124" actId="20577"/>
          <ac:spMkLst>
            <pc:docMk/>
            <pc:sldMk cId="1228329092" sldId="5013"/>
            <ac:spMk id="2" creationId="{2BFF691A-0106-26B8-89C1-55A17307E3C2}"/>
          </ac:spMkLst>
        </pc:spChg>
        <pc:spChg chg="del mod">
          <ac:chgData name="Elgee, Jeffrey (SPAC/PSPC)" userId="S::jeffrey.elgee@tpsgc-pwgsc.gc.ca::e10f0e9c-c03f-4fde-9113-11216b420c44" providerId="AD" clId="Web-{73F3E55C-C504-794F-9A03-CF4AD1E1811A}" dt="2024-06-10T19:34:05.756" v="42"/>
          <ac:spMkLst>
            <pc:docMk/>
            <pc:sldMk cId="1228329092" sldId="5013"/>
            <ac:spMk id="15" creationId="{2A224E51-C8E2-AF04-0A70-65F6548C9FA5}"/>
          </ac:spMkLst>
        </pc:spChg>
        <pc:spChg chg="mod">
          <ac:chgData name="Elgee, Jeffrey (SPAC/PSPC)" userId="S::jeffrey.elgee@tpsgc-pwgsc.gc.ca::e10f0e9c-c03f-4fde-9113-11216b420c44" providerId="AD" clId="Web-{73F3E55C-C504-794F-9A03-CF4AD1E1811A}" dt="2024-06-10T19:34:11.256" v="47" actId="1076"/>
          <ac:spMkLst>
            <pc:docMk/>
            <pc:sldMk cId="1228329092" sldId="5013"/>
            <ac:spMk id="16" creationId="{DDBAA832-5D5B-F155-4F32-06C89A6062D9}"/>
          </ac:spMkLst>
        </pc:spChg>
        <pc:spChg chg="mod">
          <ac:chgData name="Elgee, Jeffrey (SPAC/PSPC)" userId="S::jeffrey.elgee@tpsgc-pwgsc.gc.ca::e10f0e9c-c03f-4fde-9113-11216b420c44" providerId="AD" clId="Web-{73F3E55C-C504-794F-9A03-CF4AD1E1811A}" dt="2024-06-10T19:34:11.256" v="48" actId="1076"/>
          <ac:spMkLst>
            <pc:docMk/>
            <pc:sldMk cId="1228329092" sldId="5013"/>
            <ac:spMk id="17" creationId="{03D46260-31B6-3CBA-D6E4-2A34CD363B83}"/>
          </ac:spMkLst>
        </pc:spChg>
        <pc:spChg chg="mod">
          <ac:chgData name="Elgee, Jeffrey (SPAC/PSPC)" userId="S::jeffrey.elgee@tpsgc-pwgsc.gc.ca::e10f0e9c-c03f-4fde-9113-11216b420c44" providerId="AD" clId="Web-{73F3E55C-C504-794F-9A03-CF4AD1E1811A}" dt="2024-06-10T19:34:11.272" v="49" actId="1076"/>
          <ac:spMkLst>
            <pc:docMk/>
            <pc:sldMk cId="1228329092" sldId="5013"/>
            <ac:spMk id="18" creationId="{4EF912C3-D6D2-8ADB-9455-F0BB3EFD9484}"/>
          </ac:spMkLst>
        </pc:spChg>
        <pc:spChg chg="mod">
          <ac:chgData name="Elgee, Jeffrey (SPAC/PSPC)" userId="S::jeffrey.elgee@tpsgc-pwgsc.gc.ca::e10f0e9c-c03f-4fde-9113-11216b420c44" providerId="AD" clId="Web-{73F3E55C-C504-794F-9A03-CF4AD1E1811A}" dt="2024-06-10T19:34:11.272" v="50" actId="1076"/>
          <ac:spMkLst>
            <pc:docMk/>
            <pc:sldMk cId="1228329092" sldId="5013"/>
            <ac:spMk id="19" creationId="{5DABBC32-D0F2-5FB4-F32B-6ACB5C70FCBB}"/>
          </ac:spMkLst>
        </pc:spChg>
        <pc:picChg chg="mod">
          <ac:chgData name="Elgee, Jeffrey (SPAC/PSPC)" userId="S::jeffrey.elgee@tpsgc-pwgsc.gc.ca::e10f0e9c-c03f-4fde-9113-11216b420c44" providerId="AD" clId="Web-{73F3E55C-C504-794F-9A03-CF4AD1E1811A}" dt="2024-06-10T19:34:11.225" v="43" actId="1076"/>
          <ac:picMkLst>
            <pc:docMk/>
            <pc:sldMk cId="1228329092" sldId="5013"/>
            <ac:picMk id="9" creationId="{CFECC87B-723E-8826-6C4D-682E01302215}"/>
          </ac:picMkLst>
        </pc:picChg>
        <pc:picChg chg="mod">
          <ac:chgData name="Elgee, Jeffrey (SPAC/PSPC)" userId="S::jeffrey.elgee@tpsgc-pwgsc.gc.ca::e10f0e9c-c03f-4fde-9113-11216b420c44" providerId="AD" clId="Web-{73F3E55C-C504-794F-9A03-CF4AD1E1811A}" dt="2024-06-10T19:34:11.241" v="44" actId="1076"/>
          <ac:picMkLst>
            <pc:docMk/>
            <pc:sldMk cId="1228329092" sldId="5013"/>
            <ac:picMk id="10" creationId="{EE1B7117-FE8F-8104-AF1D-A9871CD54FDE}"/>
          </ac:picMkLst>
        </pc:picChg>
        <pc:picChg chg="mod">
          <ac:chgData name="Elgee, Jeffrey (SPAC/PSPC)" userId="S::jeffrey.elgee@tpsgc-pwgsc.gc.ca::e10f0e9c-c03f-4fde-9113-11216b420c44" providerId="AD" clId="Web-{73F3E55C-C504-794F-9A03-CF4AD1E1811A}" dt="2024-06-10T19:34:11.241" v="45" actId="1076"/>
          <ac:picMkLst>
            <pc:docMk/>
            <pc:sldMk cId="1228329092" sldId="5013"/>
            <ac:picMk id="11" creationId="{0A95C047-D6CC-A24A-9FFE-34EA9062B06B}"/>
          </ac:picMkLst>
        </pc:picChg>
        <pc:picChg chg="mod">
          <ac:chgData name="Elgee, Jeffrey (SPAC/PSPC)" userId="S::jeffrey.elgee@tpsgc-pwgsc.gc.ca::e10f0e9c-c03f-4fde-9113-11216b420c44" providerId="AD" clId="Web-{73F3E55C-C504-794F-9A03-CF4AD1E1811A}" dt="2024-06-10T19:34:11.256" v="46" actId="1076"/>
          <ac:picMkLst>
            <pc:docMk/>
            <pc:sldMk cId="1228329092" sldId="5013"/>
            <ac:picMk id="13" creationId="{1BFE9BF1-5E6A-A995-0D24-DB7A9C3633D8}"/>
          </ac:picMkLst>
        </pc:picChg>
      </pc:sldChg>
    </pc:docChg>
  </pc:docChgLst>
  <pc:docChgLst>
    <pc:chgData name="Elgee, Jeffrey (SPAC/PSPC)" userId="S::jeffrey.elgee@tpsgc-pwgsc.gc.ca::e10f0e9c-c03f-4fde-9113-11216b420c44" providerId="AD" clId="Web-{3F61CFF4-68B2-77AD-BEE0-B6951A0738B3}"/>
    <pc:docChg chg="modSld">
      <pc:chgData name="Elgee, Jeffrey (SPAC/PSPC)" userId="S::jeffrey.elgee@tpsgc-pwgsc.gc.ca::e10f0e9c-c03f-4fde-9113-11216b420c44" providerId="AD" clId="Web-{3F61CFF4-68B2-77AD-BEE0-B6951A0738B3}" dt="2024-06-12T20:29:06.126" v="10" actId="20577"/>
      <pc:docMkLst>
        <pc:docMk/>
      </pc:docMkLst>
      <pc:sldChg chg="modSp modCm">
        <pc:chgData name="Elgee, Jeffrey (SPAC/PSPC)" userId="S::jeffrey.elgee@tpsgc-pwgsc.gc.ca::e10f0e9c-c03f-4fde-9113-11216b420c44" providerId="AD" clId="Web-{3F61CFF4-68B2-77AD-BEE0-B6951A0738B3}" dt="2024-06-12T20:29:06.126" v="10" actId="20577"/>
        <pc:sldMkLst>
          <pc:docMk/>
          <pc:sldMk cId="3633628159" sldId="4991"/>
        </pc:sldMkLst>
        <pc:spChg chg="mod">
          <ac:chgData name="Elgee, Jeffrey (SPAC/PSPC)" userId="S::jeffrey.elgee@tpsgc-pwgsc.gc.ca::e10f0e9c-c03f-4fde-9113-11216b420c44" providerId="AD" clId="Web-{3F61CFF4-68B2-77AD-BEE0-B6951A0738B3}" dt="2024-06-12T20:29:06.126" v="10" actId="20577"/>
          <ac:spMkLst>
            <pc:docMk/>
            <pc:sldMk cId="3633628159" sldId="4991"/>
            <ac:spMk id="3" creationId="{DCBEA1C2-5E98-4F88-5BBE-88BF7785297A}"/>
          </ac:spMkLst>
        </pc:spChg>
        <pc:extLst>
          <p:ext xmlns:p="http://schemas.openxmlformats.org/presentationml/2006/main" uri="{D6D511B9-2390-475A-947B-AFAB55BFBCF1}">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12A11D66-0F0E-4118-AF2B-9A324C56D25D}"/>
              </pc2:cmMkLst>
            </pc226:cmChg>
            <pc226:cmChg xmlns:pc226="http://schemas.microsoft.com/office/powerpoint/2022/06/main/command" chg="mod">
              <pc226:chgData name="Elgee, Jeffrey (SPAC/PSPC)" userId="S::jeffrey.elgee@tpsgc-pwgsc.gc.ca::e10f0e9c-c03f-4fde-9113-11216b420c44" providerId="AD" clId="Web-{3F61CFF4-68B2-77AD-BEE0-B6951A0738B3}" dt="2024-06-12T20:29:06.126" v="10" actId="20577"/>
              <pc2:cmMkLst xmlns:pc2="http://schemas.microsoft.com/office/powerpoint/2019/9/main/command">
                <pc:docMk/>
                <pc:sldMk cId="3633628159" sldId="4991"/>
                <pc2:cmMk id="{D2CE9BCC-9530-493F-BC3F-9D47F64F0084}"/>
              </pc2:cmMkLst>
            </pc226:cmChg>
          </p:ext>
        </pc:ext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7/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2372946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1697232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3826914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3795929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5200960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41664944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6703536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val="0"/>
              </a:ext>
            </a:extLst>
          </a:blip>
          <a:srcRect/>
          <a:stretch/>
        </p:blipFill>
        <p:spPr>
          <a:xfrm>
            <a:off x="10985653" y="136042"/>
            <a:ext cx="973127" cy="333741"/>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0" kern="1200">
          <a:solidFill>
            <a:schemeClr val="accent5"/>
          </a:solidFill>
          <a:latin typeface="Arial Rounded MT Bold" panose="020F070403050403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notesSlide" Target="../notesSlides/notesSlide1.xml"/><Relationship Id="rId7"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image" Target="../media/image6.png"/><Relationship Id="rId4" Type="http://schemas.openxmlformats.org/officeDocument/2006/relationships/image" Target="../media/image5.jpeg"/><Relationship Id="rId9"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2.xml"/><Relationship Id="rId4" Type="http://schemas.openxmlformats.org/officeDocument/2006/relationships/image" Target="../media/image26.svg"/></Relationships>
</file>

<file path=ppt/slides/_rels/slide1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31.svg"/><Relationship Id="rId5" Type="http://schemas.openxmlformats.org/officeDocument/2006/relationships/image" Target="../media/image30.png"/><Relationship Id="rId10" Type="http://schemas.openxmlformats.org/officeDocument/2006/relationships/image" Target="../media/image35.svg"/><Relationship Id="rId4" Type="http://schemas.openxmlformats.org/officeDocument/2006/relationships/image" Target="../media/image29.svg"/><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canada.ca/en/government/publicservice/modernizing/hybrid-work/common-hybrid-work-model.html" TargetMode="Externa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CA" sz="3200" b="0" dirty="0">
                <a:solidFill>
                  <a:schemeClr val="bg1"/>
                </a:solidFill>
                <a:latin typeface="Arial Rounded MT Bold" panose="020F0704030504030204" pitchFamily="34" charset="0"/>
              </a:rPr>
              <a:t>Our Workplace </a:t>
            </a:r>
            <a:r>
              <a:rPr lang="en-CA" sz="3200" dirty="0">
                <a:solidFill>
                  <a:schemeClr val="bg1"/>
                </a:solidFill>
              </a:rPr>
              <a:t>Optimization project</a:t>
            </a:r>
            <a:endParaRPr lang="en-CA" sz="3200" b="0" dirty="0">
              <a:solidFill>
                <a:schemeClr val="bg1"/>
              </a:solidFill>
              <a:latin typeface="Arial Rounded MT Bold" panose="020F0704030504030204" pitchFamily="34" charset="0"/>
            </a:endParaRPr>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Presented by: Name of the sponsor</a:t>
            </a:r>
          </a:p>
        </p:txBody>
      </p:sp>
      <p:sp>
        <p:nvSpPr>
          <p:cNvPr id="7" name="Text Placeholder 6"/>
          <p:cNvSpPr>
            <a:spLocks noGrp="1"/>
          </p:cNvSpPr>
          <p:nvPr>
            <p:ph type="body" sz="quarter" idx="13"/>
          </p:nvPr>
        </p:nvSpPr>
        <p:spPr>
          <a:xfrm>
            <a:off x="545307" y="4188370"/>
            <a:ext cx="3494087" cy="526957"/>
          </a:xfrm>
        </p:spPr>
        <p:txBody>
          <a:bodyPr/>
          <a:lstStyle/>
          <a:p>
            <a:r>
              <a:rPr lang="fr-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MONTH YEAR</a:t>
            </a:r>
            <a:endPar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4" name="Picture 13">
            <a:hlinkClick r:id="rId5"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grpSp>
        <p:nvGrpSpPr>
          <p:cNvPr id="11" name="Group 10">
            <a:extLst>
              <a:ext uri="{FF2B5EF4-FFF2-40B4-BE49-F238E27FC236}">
                <a16:creationId xmlns:a16="http://schemas.microsoft.com/office/drawing/2014/main" id="{4BB54C6B-1537-5ED6-FAB3-0D29D2D064EA}"/>
              </a:ext>
              <a:ext uri="{C183D7F6-B498-43B3-948B-1728B52AA6E4}">
                <adec:decorative xmlns:adec="http://schemas.microsoft.com/office/drawing/2017/decorative" val="1"/>
              </a:ext>
            </a:extLst>
          </p:cNvPr>
          <p:cNvGrpSpPr/>
          <p:nvPr/>
        </p:nvGrpSpPr>
        <p:grpSpPr>
          <a:xfrm>
            <a:off x="1588" y="1588"/>
            <a:ext cx="2196206" cy="853438"/>
            <a:chOff x="1588" y="1588"/>
            <a:chExt cx="2196206" cy="853438"/>
          </a:xfrm>
        </p:grpSpPr>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03675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13" name="Picture 12">
              <a:extLs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982494" y="206641"/>
              <a:ext cx="1215300" cy="646913"/>
            </a:xfrm>
            <a:prstGeom prst="rect">
              <a:avLst/>
            </a:prstGeom>
          </p:spPr>
        </p:pic>
        <p:pic>
          <p:nvPicPr>
            <p:cNvPr id="10" name="Picture 9">
              <a:extLst>
                <a:ext uri="{FF2B5EF4-FFF2-40B4-BE49-F238E27FC236}">
                  <a16:creationId xmlns:a16="http://schemas.microsoft.com/office/drawing/2014/main" id="{5006D040-847C-E98D-2D45-EA89F75532AA}"/>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312652" y="195160"/>
              <a:ext cx="705964" cy="659866"/>
            </a:xfrm>
            <a:prstGeom prst="rect">
              <a:avLst/>
            </a:prstGeom>
          </p:spPr>
        </p:pic>
      </p:gr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EB6BE0-BB00-FDB4-9881-EC44FA117B0C}"/>
              </a:ext>
            </a:extLst>
          </p:cNvPr>
          <p:cNvSpPr>
            <a:spLocks noGrp="1"/>
          </p:cNvSpPr>
          <p:nvPr>
            <p:ph type="title"/>
          </p:nvPr>
        </p:nvSpPr>
        <p:spPr>
          <a:xfrm>
            <a:off x="450666" y="3204680"/>
            <a:ext cx="11115674" cy="939581"/>
          </a:xfrm>
        </p:spPr>
        <p:txBody>
          <a:bodyPr>
            <a:normAutofit fontScale="90000"/>
          </a:bodyPr>
          <a:lstStyle/>
          <a:p>
            <a:r>
              <a:rPr lang="fr-CA" dirty="0" err="1"/>
              <a:t>Leadership’s</a:t>
            </a:r>
            <a:r>
              <a:rPr lang="fr-CA" dirty="0"/>
              <a:t> </a:t>
            </a:r>
            <a:r>
              <a:rPr lang="fr-CA" dirty="0" err="1"/>
              <a:t>role</a:t>
            </a:r>
            <a:r>
              <a:rPr lang="fr-CA" dirty="0"/>
              <a:t> </a:t>
            </a:r>
            <a:r>
              <a:rPr lang="fr-CA" dirty="0" err="1"/>
              <a:t>from</a:t>
            </a:r>
            <a:r>
              <a:rPr lang="fr-CA" dirty="0"/>
              <a:t> a Change management perspective</a:t>
            </a:r>
            <a:endParaRPr lang="en-CA" dirty="0"/>
          </a:p>
        </p:txBody>
      </p:sp>
    </p:spTree>
    <p:extLst>
      <p:ext uri="{BB962C8B-B14F-4D97-AF65-F5344CB8AC3E}">
        <p14:creationId xmlns:p14="http://schemas.microsoft.com/office/powerpoint/2010/main" val="41278696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5F31FD-D91B-2F1F-48B5-8229C5FFF47F}"/>
              </a:ext>
            </a:extLst>
          </p:cNvPr>
          <p:cNvSpPr>
            <a:spLocks noGrp="1"/>
          </p:cNvSpPr>
          <p:nvPr>
            <p:ph type="title"/>
          </p:nvPr>
        </p:nvSpPr>
        <p:spPr/>
        <p:txBody>
          <a:bodyPr>
            <a:normAutofit/>
          </a:bodyPr>
          <a:lstStyle/>
          <a:p>
            <a:r>
              <a:rPr lang="en-CA" sz="3200" dirty="0"/>
              <a:t>My role as Sponsor of the optimization project</a:t>
            </a:r>
          </a:p>
        </p:txBody>
      </p:sp>
      <p:sp>
        <p:nvSpPr>
          <p:cNvPr id="3" name="Text Placeholder 2">
            <a:extLst>
              <a:ext uri="{FF2B5EF4-FFF2-40B4-BE49-F238E27FC236}">
                <a16:creationId xmlns:a16="http://schemas.microsoft.com/office/drawing/2014/main" id="{DE69AC7C-2B0D-CF31-48EE-53792B4D724E}"/>
              </a:ext>
            </a:extLst>
          </p:cNvPr>
          <p:cNvSpPr>
            <a:spLocks noGrp="1"/>
          </p:cNvSpPr>
          <p:nvPr>
            <p:ph type="body" sz="half" idx="2"/>
          </p:nvPr>
        </p:nvSpPr>
        <p:spPr>
          <a:xfrm>
            <a:off x="508760" y="2285615"/>
            <a:ext cx="5332060" cy="3059017"/>
          </a:xfrm>
        </p:spPr>
        <p:txBody>
          <a:bodyPr lIns="91440" tIns="45720" rIns="91440" bIns="45720" anchor="t">
            <a:normAutofit fontScale="25000" lnSpcReduction="20000"/>
          </a:bodyPr>
          <a:lstStyle/>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Build the governance around the project and supervise the project team</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Oversee the Change management strategy</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Show my commitment to this project and lead by example - I will release my assigned office </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Communicate the vision, inform and provide updates on the project</a:t>
            </a:r>
          </a:p>
          <a:p>
            <a:pPr marL="285750" indent="-285750">
              <a:lnSpc>
                <a:spcPct val="107000"/>
              </a:lnSpc>
              <a:spcBef>
                <a:spcPts val="1200"/>
              </a:spcBef>
              <a:buFont typeface="Arial" panose="020B0604020202020204" pitchFamily="34" charset="0"/>
              <a:buChar char="•"/>
            </a:pPr>
            <a:r>
              <a:rPr lang="en-CA" sz="7200" kern="100" dirty="0">
                <a:latin typeface="Calibri"/>
                <a:ea typeface="Calibri"/>
                <a:cs typeface="Calibri"/>
              </a:rPr>
              <a:t>Make sure leaders and managers are well equipped to support the teams </a:t>
            </a:r>
          </a:p>
          <a:p>
            <a:endParaRPr lang="en-CA" dirty="0">
              <a:latin typeface="Calibri"/>
              <a:cs typeface="Calibri"/>
            </a:endParaRPr>
          </a:p>
        </p:txBody>
      </p:sp>
      <p:grpSp>
        <p:nvGrpSpPr>
          <p:cNvPr id="18" name="Group 17">
            <a:extLst>
              <a:ext uri="{FF2B5EF4-FFF2-40B4-BE49-F238E27FC236}">
                <a16:creationId xmlns:a16="http://schemas.microsoft.com/office/drawing/2014/main" id="{5BB48D31-9A38-0DD7-71BA-6923707ED727}"/>
              </a:ext>
              <a:ext uri="{C183D7F6-B498-43B3-948B-1728B52AA6E4}">
                <adec:decorative xmlns:adec="http://schemas.microsoft.com/office/drawing/2017/decorative" val="1"/>
              </a:ext>
            </a:extLst>
          </p:cNvPr>
          <p:cNvGrpSpPr/>
          <p:nvPr/>
        </p:nvGrpSpPr>
        <p:grpSpPr>
          <a:xfrm>
            <a:off x="6676462" y="1470032"/>
            <a:ext cx="3843977" cy="4837107"/>
            <a:chOff x="6676462" y="1470032"/>
            <a:chExt cx="3843977" cy="4837107"/>
          </a:xfrm>
        </p:grpSpPr>
        <p:sp>
          <p:nvSpPr>
            <p:cNvPr id="2" name="Oval 1">
              <a:extLst>
                <a:ext uri="{FF2B5EF4-FFF2-40B4-BE49-F238E27FC236}">
                  <a16:creationId xmlns:a16="http://schemas.microsoft.com/office/drawing/2014/main" id="{C301AA33-6A30-AB3E-C776-0E493CEF5F2A}"/>
                </a:ext>
                <a:ext uri="{C183D7F6-B498-43B3-948B-1728B52AA6E4}">
                  <adec:decorative xmlns:adec="http://schemas.microsoft.com/office/drawing/2017/decorative" val="1"/>
                </a:ext>
              </a:extLst>
            </p:cNvPr>
            <p:cNvSpPr/>
            <p:nvPr/>
          </p:nvSpPr>
          <p:spPr>
            <a:xfrm>
              <a:off x="9145076" y="5259051"/>
              <a:ext cx="407827" cy="40782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Ellipse 5">
              <a:extLst>
                <a:ext uri="{FF2B5EF4-FFF2-40B4-BE49-F238E27FC236}">
                  <a16:creationId xmlns:a16="http://schemas.microsoft.com/office/drawing/2014/main" id="{7D752629-BEEA-E8C2-10E0-EF6C6D24C9FA}"/>
                </a:ext>
                <a:ext uri="{C183D7F6-B498-43B3-948B-1728B52AA6E4}">
                  <adec:decorative xmlns:adec="http://schemas.microsoft.com/office/drawing/2017/decorative" val="1"/>
                </a:ext>
              </a:extLst>
            </p:cNvPr>
            <p:cNvSpPr/>
            <p:nvPr/>
          </p:nvSpPr>
          <p:spPr>
            <a:xfrm>
              <a:off x="9761448" y="3650824"/>
              <a:ext cx="419969" cy="47287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Ellipse 21">
              <a:extLst>
                <a:ext uri="{FF2B5EF4-FFF2-40B4-BE49-F238E27FC236}">
                  <a16:creationId xmlns:a16="http://schemas.microsoft.com/office/drawing/2014/main" id="{EE7E1DAB-29FF-5B67-85B4-4984C180F89E}"/>
                </a:ext>
                <a:ext uri="{C183D7F6-B498-43B3-948B-1728B52AA6E4}">
                  <adec:decorative xmlns:adec="http://schemas.microsoft.com/office/drawing/2017/decorative" val="1"/>
                </a:ext>
              </a:extLst>
            </p:cNvPr>
            <p:cNvSpPr/>
            <p:nvPr/>
          </p:nvSpPr>
          <p:spPr>
            <a:xfrm>
              <a:off x="8941163" y="2088375"/>
              <a:ext cx="350343" cy="394480"/>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8" name="Group 7">
              <a:extLst>
                <a:ext uri="{FF2B5EF4-FFF2-40B4-BE49-F238E27FC236}">
                  <a16:creationId xmlns:a16="http://schemas.microsoft.com/office/drawing/2014/main" id="{18E89C66-3090-DBBB-16D4-ADB8F41C9D33}"/>
                </a:ext>
                <a:ext uri="{C183D7F6-B498-43B3-948B-1728B52AA6E4}">
                  <adec:decorative xmlns:adec="http://schemas.microsoft.com/office/drawing/2017/decorative" val="1"/>
                </a:ext>
              </a:extLst>
            </p:cNvPr>
            <p:cNvGrpSpPr/>
            <p:nvPr/>
          </p:nvGrpSpPr>
          <p:grpSpPr>
            <a:xfrm>
              <a:off x="7575086" y="2661738"/>
              <a:ext cx="1900464" cy="2417231"/>
              <a:chOff x="7498386" y="2375486"/>
              <a:chExt cx="2206210" cy="2806114"/>
            </a:xfrm>
          </p:grpSpPr>
          <p:cxnSp>
            <p:nvCxnSpPr>
              <p:cNvPr id="9" name="Straight Connector 8">
                <a:extLst>
                  <a:ext uri="{FF2B5EF4-FFF2-40B4-BE49-F238E27FC236}">
                    <a16:creationId xmlns:a16="http://schemas.microsoft.com/office/drawing/2014/main" id="{B3582EEC-42E9-2DD7-F0A7-E5E9A53AB585}"/>
                  </a:ext>
                </a:extLst>
              </p:cNvPr>
              <p:cNvCxnSpPr/>
              <p:nvPr/>
            </p:nvCxnSpPr>
            <p:spPr>
              <a:xfrm>
                <a:off x="7518445" y="3767948"/>
                <a:ext cx="2186151" cy="0"/>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DC7E441-722B-41C3-9466-2D6768876013}"/>
                  </a:ext>
                </a:extLst>
              </p:cNvPr>
              <p:cNvCxnSpPr>
                <a:cxnSpLocks/>
              </p:cNvCxnSpPr>
              <p:nvPr/>
            </p:nvCxnSpPr>
            <p:spPr>
              <a:xfrm>
                <a:off x="7518445" y="3758913"/>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3E90E1B-5DB7-1531-4319-867D40AEC134}"/>
                  </a:ext>
                </a:extLst>
              </p:cNvPr>
              <p:cNvCxnSpPr>
                <a:cxnSpLocks/>
              </p:cNvCxnSpPr>
              <p:nvPr/>
            </p:nvCxnSpPr>
            <p:spPr>
              <a:xfrm flipV="1">
                <a:off x="7498386" y="2375486"/>
                <a:ext cx="1332812" cy="1422687"/>
              </a:xfrm>
              <a:prstGeom prst="line">
                <a:avLst/>
              </a:prstGeom>
              <a:ln w="28575">
                <a:solidFill>
                  <a:schemeClr val="tx2">
                    <a:lumMod val="75000"/>
                  </a:schemeClr>
                </a:solidFill>
                <a:prstDash val="lgDash"/>
                <a:tailEnd type="arrow"/>
              </a:ln>
            </p:spPr>
            <p:style>
              <a:lnRef idx="1">
                <a:schemeClr val="accent1"/>
              </a:lnRef>
              <a:fillRef idx="0">
                <a:schemeClr val="accent1"/>
              </a:fillRef>
              <a:effectRef idx="0">
                <a:schemeClr val="accent1"/>
              </a:effectRef>
              <a:fontRef idx="minor">
                <a:schemeClr val="tx1"/>
              </a:fontRef>
            </p:style>
          </p:cxnSp>
        </p:grpSp>
        <p:pic>
          <p:nvPicPr>
            <p:cNvPr id="12" name="Graphic 11">
              <a:extLst>
                <a:ext uri="{FF2B5EF4-FFF2-40B4-BE49-F238E27FC236}">
                  <a16:creationId xmlns:a16="http://schemas.microsoft.com/office/drawing/2014/main" id="{0CA9E75F-2B00-6848-3047-49462E93A710}"/>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97956" y="1470032"/>
              <a:ext cx="1636758" cy="1636758"/>
            </a:xfrm>
            <a:prstGeom prst="rect">
              <a:avLst/>
            </a:prstGeom>
          </p:spPr>
        </p:pic>
        <p:pic>
          <p:nvPicPr>
            <p:cNvPr id="13" name="Graphic 12">
              <a:extLst>
                <a:ext uri="{FF2B5EF4-FFF2-40B4-BE49-F238E27FC236}">
                  <a16:creationId xmlns:a16="http://schemas.microsoft.com/office/drawing/2014/main" id="{3348626F-3DCC-5CC9-0E28-2AF5212FF8D5}"/>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712519" y="4838241"/>
              <a:ext cx="1468898" cy="1468898"/>
            </a:xfrm>
            <a:prstGeom prst="rect">
              <a:avLst/>
            </a:prstGeom>
          </p:spPr>
        </p:pic>
        <p:pic>
          <p:nvPicPr>
            <p:cNvPr id="14" name="Graphic 13">
              <a:extLst>
                <a:ext uri="{FF2B5EF4-FFF2-40B4-BE49-F238E27FC236}">
                  <a16:creationId xmlns:a16="http://schemas.microsoft.com/office/drawing/2014/main" id="{FE3E1CE8-93B7-01CC-15B5-1BBC903F2AB9}"/>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348990" y="3229398"/>
              <a:ext cx="1171449" cy="1171449"/>
            </a:xfrm>
            <a:prstGeom prst="rect">
              <a:avLst/>
            </a:prstGeom>
          </p:spPr>
        </p:pic>
        <p:sp>
          <p:nvSpPr>
            <p:cNvPr id="15" name="Oval 14">
              <a:extLst>
                <a:ext uri="{FF2B5EF4-FFF2-40B4-BE49-F238E27FC236}">
                  <a16:creationId xmlns:a16="http://schemas.microsoft.com/office/drawing/2014/main" id="{EB612081-FCA4-47D6-A1C2-5B0B85CCB872}"/>
                </a:ext>
                <a:ext uri="{C183D7F6-B498-43B3-948B-1728B52AA6E4}">
                  <adec:decorative xmlns:adec="http://schemas.microsoft.com/office/drawing/2017/decorative" val="1"/>
                </a:ext>
              </a:extLst>
            </p:cNvPr>
            <p:cNvSpPr/>
            <p:nvPr/>
          </p:nvSpPr>
          <p:spPr>
            <a:xfrm>
              <a:off x="6676462" y="3229398"/>
              <a:ext cx="1171449" cy="1171449"/>
            </a:xfrm>
            <a:prstGeom prst="ellipse">
              <a:avLst/>
            </a:prstGeom>
            <a:solidFill>
              <a:schemeClr val="bg2">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6" name="Graphic 15">
              <a:extLst>
                <a:ext uri="{FF2B5EF4-FFF2-40B4-BE49-F238E27FC236}">
                  <a16:creationId xmlns:a16="http://schemas.microsoft.com/office/drawing/2014/main" id="{8BF32A78-A86F-77B6-554F-4B4B34FF8320}"/>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04987" y="3311924"/>
              <a:ext cx="914400" cy="914400"/>
            </a:xfrm>
            <a:prstGeom prst="rect">
              <a:avLst/>
            </a:prstGeom>
          </p:spPr>
        </p:pic>
      </p:grpSp>
    </p:spTree>
    <p:extLst>
      <p:ext uri="{BB962C8B-B14F-4D97-AF65-F5344CB8AC3E}">
        <p14:creationId xmlns:p14="http://schemas.microsoft.com/office/powerpoint/2010/main" val="2648589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vert="horz" lIns="91440" tIns="45720" rIns="91440" bIns="45720" rtlCol="0" anchor="ctr">
            <a:normAutofit/>
          </a:bodyPr>
          <a:lstStyle/>
          <a:p>
            <a:r>
              <a:rPr lang="en-US" sz="3200" dirty="0">
                <a:solidFill>
                  <a:schemeClr val="accent5">
                    <a:lumMod val="75000"/>
                  </a:schemeClr>
                </a:solidFill>
                <a:latin typeface="+mj-lt"/>
                <a:cs typeface="+mj-cs"/>
              </a:rPr>
              <a:t>Your Role as a Leader</a:t>
            </a:r>
          </a:p>
        </p:txBody>
      </p:sp>
      <p:sp>
        <p:nvSpPr>
          <p:cNvPr id="6" name="Text Placeholder 5">
            <a:extLst>
              <a:ext uri="{FF2B5EF4-FFF2-40B4-BE49-F238E27FC236}">
                <a16:creationId xmlns:a16="http://schemas.microsoft.com/office/drawing/2014/main" id="{1E046C2E-5794-1A98-BBEA-235FF863B218}"/>
              </a:ext>
            </a:extLst>
          </p:cNvPr>
          <p:cNvSpPr>
            <a:spLocks noGrp="1"/>
          </p:cNvSpPr>
          <p:nvPr>
            <p:ph type="body" sz="half" idx="2"/>
          </p:nvPr>
        </p:nvSpPr>
        <p:spPr>
          <a:xfrm>
            <a:off x="582392" y="2349451"/>
            <a:ext cx="5109570" cy="2953636"/>
          </a:xfrm>
        </p:spPr>
        <p:txBody>
          <a:bodyPr lIns="91440" tIns="45720" rIns="91440" bIns="45720" anchor="t">
            <a:normAutofit/>
          </a:bodyPr>
          <a:lstStyle/>
          <a:p>
            <a:pPr>
              <a:lnSpc>
                <a:spcPct val="90000"/>
              </a:lnSpc>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As executives and senior leaders, you play an essential role in these times of change.</a:t>
            </a:r>
          </a:p>
          <a:p>
            <a:pPr>
              <a:lnSpc>
                <a:spcPct val="90000"/>
              </a:lnSpc>
              <a:spcAft>
                <a:spcPts val="600"/>
              </a:spcAft>
            </a:pPr>
            <a:r>
              <a:rPr lang="en-US" sz="1800" dirty="0">
                <a:latin typeface="Calibri" panose="020F0502020204030204" pitchFamily="34" charset="0"/>
                <a:ea typeface="Calibri" panose="020F0502020204030204" pitchFamily="34" charset="0"/>
                <a:cs typeface="Calibri" panose="020F0502020204030204" pitchFamily="34" charset="0"/>
              </a:rPr>
              <a:t>Employees will </a:t>
            </a:r>
            <a:r>
              <a:rPr lang="en-US" sz="1800" dirty="0">
                <a:effectLst/>
                <a:latin typeface="Calibri" panose="020F0502020204030204" pitchFamily="34" charset="0"/>
                <a:ea typeface="Calibri" panose="020F0502020204030204" pitchFamily="34" charset="0"/>
                <a:cs typeface="Calibri" panose="020F0502020204030204" pitchFamily="34" charset="0"/>
              </a:rPr>
              <a:t>look to its leaders to </a:t>
            </a:r>
            <a:r>
              <a:rPr lang="en-US" sz="1800" dirty="0">
                <a:latin typeface="Calibri" panose="020F0502020204030204" pitchFamily="34" charset="0"/>
                <a:ea typeface="Calibri" panose="020F0502020204030204" pitchFamily="34" charset="0"/>
                <a:cs typeface="Calibri" panose="020F0502020204030204" pitchFamily="34" charset="0"/>
              </a:rPr>
              <a:t>be engaged in the change and</a:t>
            </a:r>
            <a:r>
              <a:rPr lang="en-US" sz="1800" dirty="0">
                <a:effectLst/>
                <a:latin typeface="Calibri" panose="020F0502020204030204" pitchFamily="34" charset="0"/>
                <a:ea typeface="Calibri" panose="020F0502020204030204" pitchFamily="34" charset="0"/>
                <a:cs typeface="Calibri" panose="020F0502020204030204" pitchFamily="34" charset="0"/>
              </a:rPr>
              <a:t> to demonstrate why the optimization is necessary.</a:t>
            </a:r>
            <a:r>
              <a:rPr lang="en-US" sz="1800" dirty="0">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a:lnSpc>
                <a:spcPct val="90000"/>
              </a:lnSpc>
              <a:spcAft>
                <a:spcPts val="600"/>
              </a:spcAft>
            </a:pPr>
            <a:r>
              <a:rPr lang="en-US" sz="1800" dirty="0">
                <a:effectLst/>
                <a:latin typeface="Calibri" panose="020F0502020204030204" pitchFamily="34" charset="0"/>
                <a:ea typeface="Calibri" panose="020F0502020204030204" pitchFamily="34" charset="0"/>
                <a:cs typeface="Calibri" panose="020F0502020204030204" pitchFamily="34" charset="0"/>
              </a:rPr>
              <a:t>As a leader, you provide the authority and credibility necessary for a successful change</a:t>
            </a:r>
            <a:endParaRPr lang="en-US" sz="1800" dirty="0">
              <a:latin typeface="Calibri" panose="020F0502020204030204" pitchFamily="34" charset="0"/>
              <a:ea typeface="Calibri" panose="020F0502020204030204" pitchFamily="34" charset="0"/>
              <a:cs typeface="Calibri" panose="020F0502020204030204" pitchFamily="34" charset="0"/>
            </a:endParaRPr>
          </a:p>
          <a:p>
            <a:endParaRPr lang="en-CA" dirty="0">
              <a:latin typeface="Calibri" panose="020F0502020204030204" pitchFamily="34" charset="0"/>
              <a:ea typeface="Calibri" panose="020F0502020204030204" pitchFamily="34" charset="0"/>
              <a:cs typeface="Calibri" panose="020F0502020204030204" pitchFamily="34" charset="0"/>
            </a:endParaRPr>
          </a:p>
        </p:txBody>
      </p:sp>
      <p:pic>
        <p:nvPicPr>
          <p:cNvPr id="9" name="Picture Placeholder 8" descr="Sailboats following a sailboat with a red sail.">
            <a:extLst>
              <a:ext uri="{FF2B5EF4-FFF2-40B4-BE49-F238E27FC236}">
                <a16:creationId xmlns:a16="http://schemas.microsoft.com/office/drawing/2014/main" id="{013C9C46-AB96-1193-BAA4-09DB126E5274}"/>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6419652" y="2075065"/>
            <a:ext cx="4806167" cy="295363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91831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A7F99B2-4BB8-F561-E89D-85B8AF383FB1}"/>
              </a:ext>
            </a:extLst>
          </p:cNvPr>
          <p:cNvSpPr>
            <a:spLocks noGrp="1"/>
          </p:cNvSpPr>
          <p:nvPr>
            <p:ph type="title"/>
          </p:nvPr>
        </p:nvSpPr>
        <p:spPr>
          <a:xfrm>
            <a:off x="542878" y="550861"/>
            <a:ext cx="11313420" cy="835027"/>
          </a:xfrm>
        </p:spPr>
        <p:txBody>
          <a:bodyPr>
            <a:normAutofit/>
          </a:bodyPr>
          <a:lstStyle/>
          <a:p>
            <a:r>
              <a:rPr lang="fr-CA" dirty="0"/>
              <a:t>Seize the </a:t>
            </a:r>
            <a:r>
              <a:rPr lang="fr-CA" dirty="0" err="1"/>
              <a:t>opportunities</a:t>
            </a:r>
            <a:r>
              <a:rPr lang="fr-CA" dirty="0"/>
              <a:t> to </a:t>
            </a:r>
            <a:r>
              <a:rPr lang="fr-CA" dirty="0" err="1"/>
              <a:t>play</a:t>
            </a:r>
            <a:r>
              <a:rPr lang="fr-CA" dirty="0"/>
              <a:t> </a:t>
            </a:r>
            <a:r>
              <a:rPr lang="fr-CA" dirty="0" err="1"/>
              <a:t>your</a:t>
            </a:r>
            <a:r>
              <a:rPr lang="fr-CA" dirty="0"/>
              <a:t> </a:t>
            </a:r>
            <a:r>
              <a:rPr lang="fr-CA" dirty="0" err="1"/>
              <a:t>role</a:t>
            </a:r>
            <a:endParaRPr lang="en-CA" dirty="0"/>
          </a:p>
        </p:txBody>
      </p:sp>
      <p:sp>
        <p:nvSpPr>
          <p:cNvPr id="3" name="Text Placeholder 2">
            <a:extLst>
              <a:ext uri="{FF2B5EF4-FFF2-40B4-BE49-F238E27FC236}">
                <a16:creationId xmlns:a16="http://schemas.microsoft.com/office/drawing/2014/main" id="{F1C3E258-F619-5F69-B737-122EB008B65B}"/>
              </a:ext>
            </a:extLst>
          </p:cNvPr>
          <p:cNvSpPr>
            <a:spLocks noGrp="1"/>
          </p:cNvSpPr>
          <p:nvPr>
            <p:ph type="body" sz="half" idx="2"/>
          </p:nvPr>
        </p:nvSpPr>
        <p:spPr>
          <a:xfrm>
            <a:off x="369740" y="1572732"/>
            <a:ext cx="6782427" cy="4592640"/>
          </a:xfrm>
        </p:spPr>
        <p:txBody>
          <a:bodyPr>
            <a:normAutofit lnSpcReduction="10000"/>
          </a:bodyPr>
          <a:lstStyle/>
          <a:p>
            <a:pPr marL="285750" indent="-285750">
              <a:lnSpc>
                <a:spcPct val="107000"/>
              </a:lnSpc>
              <a:spcBef>
                <a:spcPts val="0"/>
              </a:spcBef>
              <a:spcAft>
                <a:spcPts val="800"/>
              </a:spcAft>
              <a:buFont typeface="Arial" panose="020B0604020202020204" pitchFamily="34" charset="0"/>
              <a:buChar char="•"/>
            </a:pPr>
            <a:r>
              <a:rPr lang="en-CA" sz="2000" dirty="0">
                <a:effectLst/>
                <a:latin typeface="Calibri" panose="020F0502020204030204" pitchFamily="34" charset="0"/>
                <a:ea typeface="Calibri" panose="020F0502020204030204" pitchFamily="34" charset="0"/>
                <a:cs typeface="Times New Roman" panose="02020603050405020304" pitchFamily="18" charset="0"/>
              </a:rPr>
              <a:t>Regularly discuss the vision and the reasons for the optimization and change.</a:t>
            </a:r>
          </a:p>
          <a:p>
            <a:pPr marL="285750" indent="-285750">
              <a:lnSpc>
                <a:spcPct val="107000"/>
              </a:lnSpc>
              <a:spcBef>
                <a:spcPts val="0"/>
              </a:spcBef>
              <a:spcAft>
                <a:spcPts val="800"/>
              </a:spcAft>
              <a:buFont typeface="Arial" panose="020B0604020202020204" pitchFamily="34" charset="0"/>
              <a:buChar char="•"/>
            </a:pP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Take advantage of existing events and activities </a:t>
            </a:r>
            <a:r>
              <a:rPr lang="en-CA" sz="1900" kern="100" dirty="0">
                <a:latin typeface="Calibri" panose="020F0502020204030204" pitchFamily="34" charset="0"/>
                <a:ea typeface="Calibri" panose="020F0502020204030204" pitchFamily="34" charset="0"/>
                <a:cs typeface="Times New Roman" panose="02020603050405020304" pitchFamily="18" charset="0"/>
              </a:rPr>
              <a:t>to engage, consult  and involve your branch. </a:t>
            </a: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Engagement could include all-staff meetings, </a:t>
            </a:r>
            <a:r>
              <a:rPr lang="en-CA" sz="1900" kern="100" dirty="0">
                <a:latin typeface="Calibri" panose="020F0502020204030204" pitchFamily="34" charset="0"/>
                <a:ea typeface="Calibri" panose="020F0502020204030204" pitchFamily="34" charset="0"/>
                <a:cs typeface="Times New Roman" panose="02020603050405020304" pitchFamily="18" charset="0"/>
              </a:rPr>
              <a:t>management</a:t>
            </a: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 meetings, informal chats, polls, etc.</a:t>
            </a:r>
          </a:p>
          <a:p>
            <a:pPr marL="285750" indent="-285750">
              <a:lnSpc>
                <a:spcPct val="107000"/>
              </a:lnSpc>
              <a:spcBef>
                <a:spcPts val="0"/>
              </a:spcBef>
              <a:spcAft>
                <a:spcPts val="800"/>
              </a:spcAft>
              <a:buFont typeface="Arial" panose="020B0604020202020204" pitchFamily="34" charset="0"/>
              <a:buChar char="•"/>
            </a:pPr>
            <a:r>
              <a:rPr lang="en-CA" sz="1900" kern="100" dirty="0">
                <a:latin typeface="Calibri" panose="020F0502020204030204" pitchFamily="34" charset="0"/>
                <a:ea typeface="Calibri" panose="020F0502020204030204" pitchFamily="34" charset="0"/>
                <a:cs typeface="Times New Roman" panose="02020603050405020304" pitchFamily="18" charset="0"/>
              </a:rPr>
              <a:t>Stay informed, reflect how you will be using the optimised workplace differently and communicate it to your team.</a:t>
            </a:r>
          </a:p>
          <a:p>
            <a:pPr marL="285750" indent="-285750">
              <a:lnSpc>
                <a:spcPct val="107000"/>
              </a:lnSpc>
              <a:spcBef>
                <a:spcPts val="0"/>
              </a:spcBef>
              <a:spcAft>
                <a:spcPts val="800"/>
              </a:spcAft>
              <a:buFont typeface="Arial" panose="020B0604020202020204" pitchFamily="34" charset="0"/>
              <a:buChar char="•"/>
            </a:pPr>
            <a:r>
              <a:rPr lang="en-CA" sz="1900" kern="100" dirty="0">
                <a:effectLst/>
                <a:latin typeface="Calibri" panose="020F0502020204030204" pitchFamily="34" charset="0"/>
                <a:ea typeface="Calibri" panose="020F0502020204030204" pitchFamily="34" charset="0"/>
                <a:cs typeface="Times New Roman" panose="02020603050405020304" pitchFamily="18" charset="0"/>
              </a:rPr>
              <a:t>Relay all information to empower and equip managers and supervisors to navigate the change and support their staff to do so. </a:t>
            </a:r>
          </a:p>
          <a:p>
            <a:pPr marL="285750" marR="0" indent="-285750">
              <a:lnSpc>
                <a:spcPct val="107000"/>
              </a:lnSpc>
              <a:spcBef>
                <a:spcPts val="0"/>
              </a:spcBef>
              <a:spcAft>
                <a:spcPts val="800"/>
              </a:spcAft>
              <a:buFont typeface="Arial" panose="020B0604020202020204" pitchFamily="34" charset="0"/>
              <a:buChar char="•"/>
            </a:pPr>
            <a:r>
              <a:rPr lang="en-CA" sz="2000" kern="1200" dirty="0">
                <a:solidFill>
                  <a:schemeClr val="tx1"/>
                </a:solidFill>
                <a:latin typeface="Calibri" panose="020F0502020204030204" pitchFamily="34" charset="0"/>
                <a:ea typeface="+mn-ea"/>
                <a:cs typeface="Times New Roman" panose="02020603050405020304" pitchFamily="18" charset="0"/>
              </a:rPr>
              <a:t>Recognize individuals/teams that have taken extra steps to achieve change</a:t>
            </a: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CA" sz="19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dirty="0"/>
          </a:p>
        </p:txBody>
      </p:sp>
      <p:pic>
        <p:nvPicPr>
          <p:cNvPr id="10" name="Graphic 9" descr="A flying paper airplane">
            <a:extLst>
              <a:ext uri="{FF2B5EF4-FFF2-40B4-BE49-F238E27FC236}">
                <a16:creationId xmlns:a16="http://schemas.microsoft.com/office/drawing/2014/main" id="{2A6766A1-29EE-86F2-24DD-4E788C4A32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50260" y="1593372"/>
            <a:ext cx="4572000" cy="4572000"/>
          </a:xfrm>
          <a:prstGeom prst="rect">
            <a:avLst/>
          </a:prstGeom>
        </p:spPr>
      </p:pic>
    </p:spTree>
    <p:extLst>
      <p:ext uri="{BB962C8B-B14F-4D97-AF65-F5344CB8AC3E}">
        <p14:creationId xmlns:p14="http://schemas.microsoft.com/office/powerpoint/2010/main" val="10535015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106BBF8-09B2-51C8-37AB-01D36F4778F1}"/>
              </a:ext>
            </a:extLst>
          </p:cNvPr>
          <p:cNvSpPr>
            <a:spLocks noGrp="1"/>
          </p:cNvSpPr>
          <p:nvPr>
            <p:ph type="title"/>
          </p:nvPr>
        </p:nvSpPr>
        <p:spPr/>
        <p:txBody>
          <a:bodyPr/>
          <a:lstStyle/>
          <a:p>
            <a:r>
              <a:rPr lang="en-CA" dirty="0"/>
              <a:t>Practice Compassion and Grace</a:t>
            </a:r>
          </a:p>
        </p:txBody>
      </p:sp>
      <p:sp>
        <p:nvSpPr>
          <p:cNvPr id="3" name="Text Placeholder 2">
            <a:extLst>
              <a:ext uri="{FF2B5EF4-FFF2-40B4-BE49-F238E27FC236}">
                <a16:creationId xmlns:a16="http://schemas.microsoft.com/office/drawing/2014/main" id="{850EFA27-BB7E-A97B-CC4E-5CD87E1BCE56}"/>
              </a:ext>
            </a:extLst>
          </p:cNvPr>
          <p:cNvSpPr>
            <a:spLocks noGrp="1"/>
          </p:cNvSpPr>
          <p:nvPr>
            <p:ph type="body" sz="half" idx="2"/>
          </p:nvPr>
        </p:nvSpPr>
        <p:spPr>
          <a:xfrm>
            <a:off x="583797" y="2047441"/>
            <a:ext cx="5417120" cy="3143244"/>
          </a:xfrm>
        </p:spPr>
        <p:txBody>
          <a:bodyPr lIns="91440" tIns="45720" rIns="91440" bIns="45720" anchor="t">
            <a:normAutofit/>
          </a:bodyPr>
          <a:lstStyle/>
          <a:p>
            <a:pPr marL="342900" indent="-342900">
              <a:spcBef>
                <a:spcPts val="1200"/>
              </a:spcBef>
              <a:buFont typeface="Arial" panose="020B0604020202020204" pitchFamily="34" charset="0"/>
              <a:buChar char="•"/>
            </a:pPr>
            <a:r>
              <a:rPr lang="en-CA" sz="1800" dirty="0">
                <a:latin typeface="Calibri"/>
                <a:ea typeface="Calibri"/>
                <a:cs typeface="Times New Roman"/>
              </a:rPr>
              <a:t>A compassionate leader genuinely cares for their team and empathizes with their emotions and struggles. They show understanding and support while being optimistic about the future. </a:t>
            </a:r>
            <a:endParaRPr lang="en-CA" sz="1800" dirty="0"/>
          </a:p>
          <a:p>
            <a:pPr marL="342900" indent="-342900">
              <a:spcBef>
                <a:spcPts val="1200"/>
              </a:spcBef>
              <a:buFont typeface="Arial" panose="020B0604020202020204" pitchFamily="34" charset="0"/>
              <a:buChar char="•"/>
            </a:pPr>
            <a:r>
              <a:rPr lang="en-CA" sz="1800" dirty="0">
                <a:latin typeface="Calibri"/>
                <a:ea typeface="Calibri"/>
                <a:cs typeface="Times New Roman"/>
              </a:rPr>
              <a:t>A graceful leader handles difficult situations with poise and dignity and can easily adapt to unexpected events.</a:t>
            </a:r>
          </a:p>
          <a:p>
            <a:pPr marL="342900" indent="-342900">
              <a:spcBef>
                <a:spcPts val="1200"/>
              </a:spcBef>
              <a:buFont typeface="Arial" panose="020B0604020202020204" pitchFamily="34" charset="0"/>
              <a:buChar char="•"/>
            </a:pPr>
            <a:r>
              <a:rPr lang="en-CA" sz="1800" dirty="0">
                <a:latin typeface="Calibri"/>
                <a:ea typeface="Calibri"/>
                <a:cs typeface="Calibri"/>
              </a:rPr>
              <a:t>Consider: employees will all be a different point along the change curve, and their ways of integrating may be different</a:t>
            </a:r>
            <a:endParaRPr lang="en-CA" sz="1800" dirty="0">
              <a:latin typeface="Calibri"/>
              <a:ea typeface="Calibri"/>
              <a:cs typeface="Times New Roman"/>
            </a:endParaRPr>
          </a:p>
        </p:txBody>
      </p:sp>
      <p:pic>
        <p:nvPicPr>
          <p:cNvPr id="7" name="Picture Placeholder 6" descr="People at meeting">
            <a:extLst>
              <a:ext uri="{FF2B5EF4-FFF2-40B4-BE49-F238E27FC236}">
                <a16:creationId xmlns:a16="http://schemas.microsoft.com/office/drawing/2014/main" id="{029F2DA0-493B-6158-F5EF-5894A99FDE45}"/>
              </a:ext>
            </a:extLst>
          </p:cNvPr>
          <p:cNvPicPr>
            <a:picLocks noGrp="1" noChangeAspect="1"/>
          </p:cNvPicPr>
          <p:nvPr>
            <p:ph type="pic" idx="1"/>
          </p:nvPr>
        </p:nvPicPr>
        <p:blipFill>
          <a:blip r:embed="rId3" cstate="screen">
            <a:extLst>
              <a:ext uri="{28A0092B-C50C-407E-A947-70E740481C1C}">
                <a14:useLocalDpi xmlns:a14="http://schemas.microsoft.com/office/drawing/2010/main" val="0"/>
              </a:ext>
            </a:extLst>
          </a:blip>
          <a:srcRect/>
          <a:stretch>
            <a:fillRect/>
          </a:stretch>
        </p:blipFill>
        <p:spPr>
          <a:xfrm>
            <a:off x="5858934" y="1787709"/>
            <a:ext cx="5627820" cy="3458584"/>
          </a:xfrm>
        </p:spPr>
      </p:pic>
      <p:sp>
        <p:nvSpPr>
          <p:cNvPr id="2" name="Rectangle 1">
            <a:extLst>
              <a:ext uri="{FF2B5EF4-FFF2-40B4-BE49-F238E27FC236}">
                <a16:creationId xmlns:a16="http://schemas.microsoft.com/office/drawing/2014/main" id="{FD8450FA-87DE-CC2B-2FE8-FB60CEE777D2}"/>
              </a:ext>
              <a:ext uri="{C183D7F6-B498-43B3-948B-1728B52AA6E4}">
                <adec:decorative xmlns:adec="http://schemas.microsoft.com/office/drawing/2017/decorative" val="1"/>
              </a:ext>
            </a:extLst>
          </p:cNvPr>
          <p:cNvSpPr/>
          <p:nvPr/>
        </p:nvSpPr>
        <p:spPr>
          <a:xfrm>
            <a:off x="5858933" y="1787709"/>
            <a:ext cx="5749269" cy="3458584"/>
          </a:xfrm>
          <a:prstGeom prst="rect">
            <a:avLst/>
          </a:prstGeom>
          <a:gradFill flip="none" rotWithShape="1">
            <a:gsLst>
              <a:gs pos="0">
                <a:schemeClr val="accent1">
                  <a:lumMod val="5000"/>
                  <a:lumOff val="95000"/>
                  <a:alpha val="17000"/>
                </a:schemeClr>
              </a:gs>
              <a:gs pos="93000">
                <a:schemeClr val="bg1"/>
              </a:gs>
              <a:gs pos="100000">
                <a:schemeClr val="bg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6755302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E54B41-AB8B-A396-0E3C-85310818D719}"/>
              </a:ext>
            </a:extLst>
          </p:cNvPr>
          <p:cNvSpPr>
            <a:spLocks noGrp="1"/>
          </p:cNvSpPr>
          <p:nvPr>
            <p:ph type="title"/>
          </p:nvPr>
        </p:nvSpPr>
        <p:spPr>
          <a:xfrm>
            <a:off x="174219" y="2388782"/>
            <a:ext cx="11471976" cy="1606624"/>
          </a:xfrm>
        </p:spPr>
        <p:txBody>
          <a:bodyPr>
            <a:normAutofit fontScale="90000"/>
          </a:bodyPr>
          <a:lstStyle/>
          <a:p>
            <a:r>
              <a:rPr lang="fr-CA" dirty="0"/>
              <a:t>Change management &amp; leadership impact</a:t>
            </a:r>
            <a:br>
              <a:rPr lang="fr-CA" dirty="0"/>
            </a:br>
            <a:endParaRPr lang="en-CA" dirty="0"/>
          </a:p>
        </p:txBody>
      </p:sp>
      <p:sp>
        <p:nvSpPr>
          <p:cNvPr id="8" name="ZoneTexte 7">
            <a:extLst>
              <a:ext uri="{FF2B5EF4-FFF2-40B4-BE49-F238E27FC236}">
                <a16:creationId xmlns:a16="http://schemas.microsoft.com/office/drawing/2014/main" id="{BE55429A-6F3A-2285-E739-C5FAA648F760}"/>
              </a:ext>
            </a:extLst>
          </p:cNvPr>
          <p:cNvSpPr txBox="1"/>
          <p:nvPr/>
        </p:nvSpPr>
        <p:spPr>
          <a:xfrm>
            <a:off x="174219" y="3664321"/>
            <a:ext cx="6127896" cy="523220"/>
          </a:xfrm>
          <a:prstGeom prst="rect">
            <a:avLst/>
          </a:prstGeom>
          <a:noFill/>
        </p:spPr>
        <p:txBody>
          <a:bodyPr wrap="square">
            <a:spAutoFit/>
          </a:bodyPr>
          <a:lstStyle/>
          <a:p>
            <a:r>
              <a:rPr lang="fr-CA" sz="2800" b="1" dirty="0"/>
              <a:t>Persona </a:t>
            </a:r>
            <a:r>
              <a:rPr lang="fr-CA" sz="2800" b="1" dirty="0" err="1"/>
              <a:t>studies</a:t>
            </a:r>
            <a:endParaRPr lang="en-CA" sz="2800" b="1" dirty="0"/>
          </a:p>
        </p:txBody>
      </p:sp>
    </p:spTree>
    <p:extLst>
      <p:ext uri="{BB962C8B-B14F-4D97-AF65-F5344CB8AC3E}">
        <p14:creationId xmlns:p14="http://schemas.microsoft.com/office/powerpoint/2010/main" val="3253347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BABC30-17CF-4A05-BBF2-C491854EEE86}"/>
              </a:ext>
            </a:extLst>
          </p:cNvPr>
          <p:cNvSpPr>
            <a:spLocks noGrp="1"/>
          </p:cNvSpPr>
          <p:nvPr>
            <p:ph type="title"/>
          </p:nvPr>
        </p:nvSpPr>
        <p:spPr/>
        <p:txBody>
          <a:bodyPr/>
          <a:lstStyle/>
          <a:p>
            <a:r>
              <a:rPr lang="en-US" dirty="0"/>
              <a:t>Reactions to change</a:t>
            </a:r>
            <a:endParaRPr lang="en-CA" dirty="0"/>
          </a:p>
        </p:txBody>
      </p:sp>
      <p:sp>
        <p:nvSpPr>
          <p:cNvPr id="50" name="TextBox 49">
            <a:extLst>
              <a:ext uri="{FF2B5EF4-FFF2-40B4-BE49-F238E27FC236}">
                <a16:creationId xmlns:a16="http://schemas.microsoft.com/office/drawing/2014/main" id="{DE50AACE-0335-48A5-BAF4-47E45007D9DC}"/>
              </a:ext>
            </a:extLst>
          </p:cNvPr>
          <p:cNvSpPr txBox="1"/>
          <p:nvPr/>
        </p:nvSpPr>
        <p:spPr>
          <a:xfrm>
            <a:off x="508759" y="1319942"/>
            <a:ext cx="6572669" cy="523220"/>
          </a:xfrm>
          <a:prstGeom prst="rect">
            <a:avLst/>
          </a:prstGeom>
          <a:noFill/>
        </p:spPr>
        <p:txBody>
          <a:bodyPr wrap="square" rtlCol="0">
            <a:spAutoFit/>
          </a:bodyPr>
          <a:lstStyle/>
          <a:p>
            <a:r>
              <a:rPr lang="en-US" sz="1400" dirty="0">
                <a:latin typeface="Arial" panose="020B0604020202020204" pitchFamily="34" charset="0"/>
                <a:cs typeface="Arial" panose="020B0604020202020204" pitchFamily="34" charset="0"/>
              </a:rPr>
              <a:t>The change curve below demonstrates the transition that individuals can be expected to display</a:t>
            </a:r>
            <a:endParaRPr lang="en-CA" sz="1400" dirty="0">
              <a:latin typeface="Arial" panose="020B0604020202020204" pitchFamily="34" charset="0"/>
              <a:cs typeface="Arial" panose="020B0604020202020204" pitchFamily="34" charset="0"/>
            </a:endParaRPr>
          </a:p>
        </p:txBody>
      </p:sp>
      <p:grpSp>
        <p:nvGrpSpPr>
          <p:cNvPr id="39" name="Group 38" descr="Change curve showing the different phase of an employee going through change over time and it’s possible impact on performance starting with Denial, Resistance, Exploration and commitment. ">
            <a:extLst>
              <a:ext uri="{FF2B5EF4-FFF2-40B4-BE49-F238E27FC236}">
                <a16:creationId xmlns:a16="http://schemas.microsoft.com/office/drawing/2014/main" id="{C2191868-CCF5-4452-B018-92CA700DC7A2}"/>
              </a:ext>
            </a:extLst>
          </p:cNvPr>
          <p:cNvGrpSpPr/>
          <p:nvPr/>
        </p:nvGrpSpPr>
        <p:grpSpPr>
          <a:xfrm>
            <a:off x="90307" y="2645202"/>
            <a:ext cx="7090223" cy="3487791"/>
            <a:chOff x="426363" y="1569720"/>
            <a:chExt cx="7090223" cy="3653056"/>
          </a:xfrm>
        </p:grpSpPr>
        <p:cxnSp>
          <p:nvCxnSpPr>
            <p:cNvPr id="10" name="Straight Arrow Connector 9">
              <a:extLst>
                <a:ext uri="{FF2B5EF4-FFF2-40B4-BE49-F238E27FC236}">
                  <a16:creationId xmlns:a16="http://schemas.microsoft.com/office/drawing/2014/main" id="{1B231655-D18E-4271-BA78-D0E1F28479E0}"/>
                </a:ext>
              </a:extLst>
            </p:cNvPr>
            <p:cNvCxnSpPr>
              <a:cxnSpLocks/>
            </p:cNvCxnSpPr>
            <p:nvPr/>
          </p:nvCxnSpPr>
          <p:spPr>
            <a:xfrm flipV="1">
              <a:off x="762000" y="1569720"/>
              <a:ext cx="0" cy="3329305"/>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7165D611-8F18-4B2E-BEAA-2B697479E0C8}"/>
                </a:ext>
              </a:extLst>
            </p:cNvPr>
            <p:cNvCxnSpPr/>
            <p:nvPr/>
          </p:nvCxnSpPr>
          <p:spPr>
            <a:xfrm>
              <a:off x="747486" y="4899025"/>
              <a:ext cx="6769100" cy="0"/>
            </a:xfrm>
            <a:prstGeom prst="straightConnector1">
              <a:avLst/>
            </a:prstGeom>
            <a:ln w="28575">
              <a:solidFill>
                <a:schemeClr val="accent6">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Shape 13">
              <a:extLst>
                <a:ext uri="{FF2B5EF4-FFF2-40B4-BE49-F238E27FC236}">
                  <a16:creationId xmlns:a16="http://schemas.microsoft.com/office/drawing/2014/main" id="{0CACA278-8846-461F-8C90-36C80E352F7E}"/>
                </a:ext>
              </a:extLst>
            </p:cNvPr>
            <p:cNvSpPr/>
            <p:nvPr/>
          </p:nvSpPr>
          <p:spPr>
            <a:xfrm>
              <a:off x="762000" y="2018986"/>
              <a:ext cx="6296026" cy="2378358"/>
            </a:xfrm>
            <a:custGeom>
              <a:avLst/>
              <a:gdLst>
                <a:gd name="connsiteX0" fmla="*/ 0 w 6263640"/>
                <a:gd name="connsiteY0" fmla="*/ 1562414 h 2378358"/>
                <a:gd name="connsiteX1" fmla="*/ 1592580 w 6263640"/>
                <a:gd name="connsiteY1" fmla="*/ 731834 h 2378358"/>
                <a:gd name="connsiteX2" fmla="*/ 3002280 w 6263640"/>
                <a:gd name="connsiteY2" fmla="*/ 2377754 h 2378358"/>
                <a:gd name="connsiteX3" fmla="*/ 4876800 w 6263640"/>
                <a:gd name="connsiteY3" fmla="*/ 518474 h 2378358"/>
                <a:gd name="connsiteX4" fmla="*/ 6263640 w 6263640"/>
                <a:gd name="connsiteY4" fmla="*/ 314 h 2378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3640" h="2378358">
                  <a:moveTo>
                    <a:pt x="0" y="1562414"/>
                  </a:moveTo>
                  <a:cubicBezTo>
                    <a:pt x="546100" y="1079179"/>
                    <a:pt x="1092200" y="595944"/>
                    <a:pt x="1592580" y="731834"/>
                  </a:cubicBezTo>
                  <a:cubicBezTo>
                    <a:pt x="2092960" y="867724"/>
                    <a:pt x="2454910" y="2413314"/>
                    <a:pt x="3002280" y="2377754"/>
                  </a:cubicBezTo>
                  <a:cubicBezTo>
                    <a:pt x="3549650" y="2342194"/>
                    <a:pt x="4333240" y="914714"/>
                    <a:pt x="4876800" y="518474"/>
                  </a:cubicBezTo>
                  <a:cubicBezTo>
                    <a:pt x="5420360" y="122234"/>
                    <a:pt x="6085840" y="-7306"/>
                    <a:pt x="6263640" y="314"/>
                  </a:cubicBezTo>
                </a:path>
              </a:pathLst>
            </a:custGeom>
            <a:noFill/>
            <a:ln w="28575">
              <a:solidFill>
                <a:schemeClr val="accent6">
                  <a:lumMod val="5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Oval 14">
              <a:extLst>
                <a:ext uri="{FF2B5EF4-FFF2-40B4-BE49-F238E27FC236}">
                  <a16:creationId xmlns:a16="http://schemas.microsoft.com/office/drawing/2014/main" id="{95A31F6C-BC75-4062-B21A-68B6ADEC68AE}"/>
                </a:ext>
              </a:extLst>
            </p:cNvPr>
            <p:cNvSpPr/>
            <p:nvPr/>
          </p:nvSpPr>
          <p:spPr>
            <a:xfrm>
              <a:off x="957324" y="2909472"/>
              <a:ext cx="571499" cy="57149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Oval 15">
              <a:extLst>
                <a:ext uri="{FF2B5EF4-FFF2-40B4-BE49-F238E27FC236}">
                  <a16:creationId xmlns:a16="http://schemas.microsoft.com/office/drawing/2014/main" id="{7570F9A0-5243-45FE-82DA-2E40F6155956}"/>
                </a:ext>
              </a:extLst>
            </p:cNvPr>
            <p:cNvSpPr/>
            <p:nvPr/>
          </p:nvSpPr>
          <p:spPr>
            <a:xfrm>
              <a:off x="2945326" y="3714930"/>
              <a:ext cx="571499" cy="57149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Oval 16">
              <a:extLst>
                <a:ext uri="{FF2B5EF4-FFF2-40B4-BE49-F238E27FC236}">
                  <a16:creationId xmlns:a16="http://schemas.microsoft.com/office/drawing/2014/main" id="{7D12F651-7641-4522-87CE-6C0EEA3B2882}"/>
                </a:ext>
              </a:extLst>
            </p:cNvPr>
            <p:cNvSpPr/>
            <p:nvPr/>
          </p:nvSpPr>
          <p:spPr>
            <a:xfrm>
              <a:off x="4523345" y="3195221"/>
              <a:ext cx="571499" cy="57149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Oval 17">
              <a:extLst>
                <a:ext uri="{FF2B5EF4-FFF2-40B4-BE49-F238E27FC236}">
                  <a16:creationId xmlns:a16="http://schemas.microsoft.com/office/drawing/2014/main" id="{8F8602EB-833B-4D25-8567-AFBFF0CFB8E1}"/>
                </a:ext>
              </a:extLst>
            </p:cNvPr>
            <p:cNvSpPr/>
            <p:nvPr/>
          </p:nvSpPr>
          <p:spPr>
            <a:xfrm>
              <a:off x="6018327" y="1935167"/>
              <a:ext cx="571499" cy="57149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C48292AC-ACA6-4763-92CE-02F2C17834A2}"/>
                </a:ext>
              </a:extLst>
            </p:cNvPr>
            <p:cNvSpPr txBox="1"/>
            <p:nvPr/>
          </p:nvSpPr>
          <p:spPr>
            <a:xfrm>
              <a:off x="894839" y="2035903"/>
              <a:ext cx="857250"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Denial</a:t>
              </a:r>
              <a:endParaRPr lang="en-CA" sz="1600" dirty="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120499F-6C76-4B5F-AE78-94EE93E3E65F}"/>
                </a:ext>
              </a:extLst>
            </p:cNvPr>
            <p:cNvSpPr txBox="1"/>
            <p:nvPr/>
          </p:nvSpPr>
          <p:spPr>
            <a:xfrm>
              <a:off x="1685474" y="3781820"/>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Resistance</a:t>
              </a:r>
              <a:endParaRPr lang="en-CA" sz="16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6BA22E8F-4E55-4913-BD3E-033B7C0D2C1F}"/>
                </a:ext>
              </a:extLst>
            </p:cNvPr>
            <p:cNvSpPr txBox="1"/>
            <p:nvPr/>
          </p:nvSpPr>
          <p:spPr>
            <a:xfrm>
              <a:off x="4573983" y="1734985"/>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ommitment</a:t>
              </a:r>
              <a:endParaRPr lang="en-CA" sz="16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9766194C-81AF-4510-9A27-1CB14B7DD138}"/>
                </a:ext>
              </a:extLst>
            </p:cNvPr>
            <p:cNvSpPr txBox="1"/>
            <p:nvPr/>
          </p:nvSpPr>
          <p:spPr>
            <a:xfrm>
              <a:off x="5157737" y="3331139"/>
              <a:ext cx="135300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Exploration</a:t>
              </a:r>
              <a:endParaRPr lang="en-CA" sz="16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4EAA5C09-A057-4457-9179-D3508932F0CE}"/>
                </a:ext>
              </a:extLst>
            </p:cNvPr>
            <p:cNvSpPr txBox="1"/>
            <p:nvPr/>
          </p:nvSpPr>
          <p:spPr>
            <a:xfrm>
              <a:off x="895564" y="2292286"/>
              <a:ext cx="1266532" cy="461665"/>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Initial shock and disbelief </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0251BA8F-F02F-4684-BFA2-339B97FB4731}"/>
                </a:ext>
              </a:extLst>
            </p:cNvPr>
            <p:cNvSpPr txBox="1"/>
            <p:nvPr/>
          </p:nvSpPr>
          <p:spPr>
            <a:xfrm>
              <a:off x="1685473" y="4050415"/>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Feelings of fear and anger leading to protest</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02BB73C8-579B-49D9-A107-E536848D3FA4}"/>
                </a:ext>
              </a:extLst>
            </p:cNvPr>
            <p:cNvSpPr txBox="1"/>
            <p:nvPr/>
          </p:nvSpPr>
          <p:spPr>
            <a:xfrm>
              <a:off x="5172927" y="3608835"/>
              <a:ext cx="1938467"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Employee understanding, excitement and questioning</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05F3E546-3287-40AB-B802-EE0D6AC6F169}"/>
                </a:ext>
              </a:extLst>
            </p:cNvPr>
            <p:cNvSpPr txBox="1"/>
            <p:nvPr/>
          </p:nvSpPr>
          <p:spPr>
            <a:xfrm>
              <a:off x="4585031" y="1990972"/>
              <a:ext cx="1419675" cy="646331"/>
            </a:xfrm>
            <a:prstGeom prst="rect">
              <a:avLst/>
            </a:prstGeom>
            <a:noFill/>
          </p:spPr>
          <p:txBody>
            <a:bodyPr wrap="square" rtlCol="0">
              <a:spAutoFit/>
            </a:bodyPr>
            <a:lstStyle/>
            <a:p>
              <a:r>
                <a:rPr lang="en-US" sz="1200" dirty="0">
                  <a:solidFill>
                    <a:schemeClr val="accent6">
                      <a:lumMod val="50000"/>
                    </a:schemeClr>
                  </a:solidFill>
                  <a:latin typeface="Arial" panose="020B0604020202020204" pitchFamily="34" charset="0"/>
                  <a:cs typeface="Arial" panose="020B0604020202020204" pitchFamily="34" charset="0"/>
                </a:rPr>
                <a:t>Learning how to work with the change</a:t>
              </a:r>
              <a:endParaRPr lang="en-CA" sz="1200" dirty="0">
                <a:solidFill>
                  <a:schemeClr val="accent6">
                    <a:lumMod val="50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062617AB-6DC3-4C46-ADF3-924C89CA34F5}"/>
                </a:ext>
              </a:extLst>
            </p:cNvPr>
            <p:cNvSpPr txBox="1"/>
            <p:nvPr/>
          </p:nvSpPr>
          <p:spPr>
            <a:xfrm>
              <a:off x="5786302" y="4914999"/>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Time</a:t>
              </a:r>
              <a:endParaRPr lang="en-CA" i="1" dirty="0">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1C711295-EFBB-4370-8A65-49D40DBA87E6}"/>
                </a:ext>
              </a:extLst>
            </p:cNvPr>
            <p:cNvSpPr txBox="1"/>
            <p:nvPr/>
          </p:nvSpPr>
          <p:spPr>
            <a:xfrm rot="16200000">
              <a:off x="-208758" y="2252323"/>
              <a:ext cx="1578019" cy="307777"/>
            </a:xfrm>
            <a:prstGeom prst="rect">
              <a:avLst/>
            </a:prstGeom>
            <a:noFill/>
          </p:spPr>
          <p:txBody>
            <a:bodyPr wrap="square" rtlCol="0">
              <a:spAutoFit/>
            </a:bodyPr>
            <a:lstStyle/>
            <a:p>
              <a:pPr algn="r"/>
              <a:r>
                <a:rPr lang="en-US" sz="1400" i="1" dirty="0">
                  <a:latin typeface="Arial" panose="020B0604020202020204" pitchFamily="34" charset="0"/>
                  <a:cs typeface="Arial" panose="020B0604020202020204" pitchFamily="34" charset="0"/>
                </a:rPr>
                <a:t>Performance</a:t>
              </a:r>
              <a:endParaRPr lang="en-CA" i="1" dirty="0">
                <a:latin typeface="Arial" panose="020B0604020202020204" pitchFamily="34" charset="0"/>
                <a:cs typeface="Arial" panose="020B0604020202020204" pitchFamily="34" charset="0"/>
              </a:endParaRPr>
            </a:p>
          </p:txBody>
        </p:sp>
        <p:pic>
          <p:nvPicPr>
            <p:cNvPr id="32" name="Graphic 31" descr="Surprised face with no fill">
              <a:extLst>
                <a:ext uri="{FF2B5EF4-FFF2-40B4-BE49-F238E27FC236}">
                  <a16:creationId xmlns:a16="http://schemas.microsoft.com/office/drawing/2014/main" id="{B3635091-EA6C-45BF-9324-CF1EBEF4F479}"/>
                </a:ext>
              </a:extLst>
            </p:cNvPr>
            <p:cNvPicPr>
              <a:picLocks noChangeAspect="1"/>
            </p:cNvPicPr>
            <p:nvPr/>
          </p:nvPicPr>
          <p:blipFill>
            <a:blip r:embed="rId3" cstate="screen">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8753" y="2916522"/>
              <a:ext cx="548640" cy="548640"/>
            </a:xfrm>
            <a:prstGeom prst="rect">
              <a:avLst/>
            </a:prstGeom>
          </p:spPr>
        </p:pic>
        <p:pic>
          <p:nvPicPr>
            <p:cNvPr id="34" name="Graphic 33" descr="Neutral face with no fill">
              <a:extLst>
                <a:ext uri="{FF2B5EF4-FFF2-40B4-BE49-F238E27FC236}">
                  <a16:creationId xmlns:a16="http://schemas.microsoft.com/office/drawing/2014/main" id="{C38CF90C-34E3-4FCF-8DBF-4E8830BFE9BE}"/>
                </a:ext>
              </a:extLst>
            </p:cNvPr>
            <p:cNvPicPr>
              <a:picLocks noChangeAspect="1"/>
            </p:cNvPicPr>
            <p:nvPr/>
          </p:nvPicPr>
          <p:blipFill>
            <a:blip r:embed="rId5" cstate="screen">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4774" y="3207335"/>
              <a:ext cx="548640" cy="548640"/>
            </a:xfrm>
            <a:prstGeom prst="rect">
              <a:avLst/>
            </a:prstGeom>
          </p:spPr>
        </p:pic>
        <p:pic>
          <p:nvPicPr>
            <p:cNvPr id="36" name="Graphic 35" descr="Worried face with no fill">
              <a:extLst>
                <a:ext uri="{FF2B5EF4-FFF2-40B4-BE49-F238E27FC236}">
                  <a16:creationId xmlns:a16="http://schemas.microsoft.com/office/drawing/2014/main" id="{E0429EC4-3C9B-44B9-83F6-0CEB3D37FBC9}"/>
                </a:ext>
              </a:extLst>
            </p:cNvPr>
            <p:cNvPicPr>
              <a:picLocks noChangeAspect="1"/>
            </p:cNvPicPr>
            <p:nvPr/>
          </p:nvPicPr>
          <p:blipFill>
            <a:blip r:embed="rId7" cstate="screen">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56755" y="3726359"/>
              <a:ext cx="548640" cy="548640"/>
            </a:xfrm>
            <a:prstGeom prst="rect">
              <a:avLst/>
            </a:prstGeom>
          </p:spPr>
        </p:pic>
        <p:pic>
          <p:nvPicPr>
            <p:cNvPr id="38" name="Graphic 37" descr="Grinning face with no fill">
              <a:extLst>
                <a:ext uri="{FF2B5EF4-FFF2-40B4-BE49-F238E27FC236}">
                  <a16:creationId xmlns:a16="http://schemas.microsoft.com/office/drawing/2014/main" id="{112AF510-A1D0-4440-9C80-1F280D90FA2A}"/>
                </a:ext>
              </a:extLst>
            </p:cNvPr>
            <p:cNvPicPr>
              <a:picLocks noChangeAspect="1"/>
            </p:cNvPicPr>
            <p:nvPr/>
          </p:nvPicPr>
          <p:blipFill>
            <a:blip r:embed="rId9" cstate="screen">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9756" y="1950745"/>
              <a:ext cx="548640" cy="548640"/>
            </a:xfrm>
            <a:prstGeom prst="rect">
              <a:avLst/>
            </a:prstGeom>
          </p:spPr>
        </p:pic>
      </p:grpSp>
      <p:sp>
        <p:nvSpPr>
          <p:cNvPr id="42" name="Flowchart: Off-page Connector 41">
            <a:extLst>
              <a:ext uri="{FF2B5EF4-FFF2-40B4-BE49-F238E27FC236}">
                <a16:creationId xmlns:a16="http://schemas.microsoft.com/office/drawing/2014/main" id="{BCEE7515-3524-472F-8F58-BF6E58A6FF68}"/>
              </a:ext>
            </a:extLst>
          </p:cNvPr>
          <p:cNvSpPr/>
          <p:nvPr/>
        </p:nvSpPr>
        <p:spPr>
          <a:xfrm>
            <a:off x="7431321" y="1475286"/>
            <a:ext cx="4158824" cy="353665"/>
          </a:xfrm>
          <a:prstGeom prst="flowChartOffpageConnector">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In denial</a:t>
            </a:r>
            <a:endParaRPr lang="en-CA" sz="1600" dirty="0">
              <a:solidFill>
                <a:schemeClr val="tx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C1C564CC-726D-4AF9-9415-EA9A7827EF0B}"/>
              </a:ext>
            </a:extLst>
          </p:cNvPr>
          <p:cNvSpPr txBox="1"/>
          <p:nvPr/>
        </p:nvSpPr>
        <p:spPr>
          <a:xfrm>
            <a:off x="7431321" y="1844447"/>
            <a:ext cx="41588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Not understanding </a:t>
            </a:r>
            <a:r>
              <a:rPr lang="en-US" sz="1400" b="1" dirty="0"/>
              <a:t>why</a:t>
            </a:r>
            <a:r>
              <a:rPr lang="en-US" sz="1400" dirty="0"/>
              <a:t> the organization needs to make these changes.</a:t>
            </a:r>
          </a:p>
        </p:txBody>
      </p:sp>
      <p:sp>
        <p:nvSpPr>
          <p:cNvPr id="43" name="Flowchart: Off-page Connector 42">
            <a:extLst>
              <a:ext uri="{FF2B5EF4-FFF2-40B4-BE49-F238E27FC236}">
                <a16:creationId xmlns:a16="http://schemas.microsoft.com/office/drawing/2014/main" id="{A95862EF-6835-47F7-810D-D13EB59C9F3C}"/>
              </a:ext>
            </a:extLst>
          </p:cNvPr>
          <p:cNvSpPr/>
          <p:nvPr/>
        </p:nvSpPr>
        <p:spPr>
          <a:xfrm>
            <a:off x="7431321" y="2408167"/>
            <a:ext cx="4158824" cy="353665"/>
          </a:xfrm>
          <a:prstGeom prst="flowChartOffpageConnector">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Resisting</a:t>
            </a:r>
            <a:endParaRPr lang="en-CA" sz="1600" dirty="0">
              <a:solidFill>
                <a:schemeClr val="bg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id="{7610ADAC-96D2-4161-8E5B-D809086A6EA4}"/>
              </a:ext>
            </a:extLst>
          </p:cNvPr>
          <p:cNvSpPr txBox="1"/>
          <p:nvPr/>
        </p:nvSpPr>
        <p:spPr>
          <a:xfrm>
            <a:off x="7453996" y="2852199"/>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Looking  for evidence that this workplace model isn’t efficient.</a:t>
            </a:r>
          </a:p>
          <a:p>
            <a:pPr marL="285750" indent="-285750">
              <a:buFont typeface="Arial" panose="020B0604020202020204" pitchFamily="34" charset="0"/>
              <a:buChar char="•"/>
            </a:pPr>
            <a:r>
              <a:rPr lang="en-US" sz="1400" dirty="0"/>
              <a:t>Complaining that the changes will not work for their functions.</a:t>
            </a:r>
          </a:p>
        </p:txBody>
      </p:sp>
      <p:sp>
        <p:nvSpPr>
          <p:cNvPr id="44" name="Flowchart: Off-page Connector 43">
            <a:extLst>
              <a:ext uri="{FF2B5EF4-FFF2-40B4-BE49-F238E27FC236}">
                <a16:creationId xmlns:a16="http://schemas.microsoft.com/office/drawing/2014/main" id="{279DBB7C-9EAA-452F-95CC-784DB91B3516}"/>
              </a:ext>
            </a:extLst>
          </p:cNvPr>
          <p:cNvSpPr/>
          <p:nvPr/>
        </p:nvSpPr>
        <p:spPr>
          <a:xfrm>
            <a:off x="7453996" y="3852095"/>
            <a:ext cx="4158824" cy="353665"/>
          </a:xfrm>
          <a:prstGeom prst="flowChartOffpage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Exploring</a:t>
            </a:r>
            <a:endParaRPr lang="en-CA" sz="1600" dirty="0">
              <a:solidFill>
                <a:schemeClr val="tx1"/>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36C29F3A-8516-44CE-8C66-B51F2F37DA86}"/>
              </a:ext>
            </a:extLst>
          </p:cNvPr>
          <p:cNvSpPr txBox="1"/>
          <p:nvPr/>
        </p:nvSpPr>
        <p:spPr>
          <a:xfrm>
            <a:off x="7431321" y="4266054"/>
            <a:ext cx="4158824" cy="954107"/>
          </a:xfrm>
          <a:prstGeom prst="rect">
            <a:avLst/>
          </a:prstGeom>
          <a:noFill/>
        </p:spPr>
        <p:txBody>
          <a:bodyPr wrap="square" rtlCol="0">
            <a:spAutoFit/>
          </a:bodyPr>
          <a:lstStyle/>
          <a:p>
            <a:pPr marL="285750" indent="-285750">
              <a:buFont typeface="Arial" panose="020B0604020202020204" pitchFamily="34" charset="0"/>
              <a:buChar char="•"/>
            </a:pPr>
            <a:r>
              <a:rPr lang="en-US" sz="1400" dirty="0"/>
              <a:t>Paying more attention to the information and trainings available.</a:t>
            </a:r>
          </a:p>
          <a:p>
            <a:pPr marL="285750" indent="-285750">
              <a:buFont typeface="Arial" panose="020B0604020202020204" pitchFamily="34" charset="0"/>
              <a:buChar char="•"/>
            </a:pPr>
            <a:r>
              <a:rPr lang="en-US" sz="1400" dirty="0"/>
              <a:t>Starting to look for solutions to issues anticipated or experimented.</a:t>
            </a:r>
          </a:p>
        </p:txBody>
      </p:sp>
      <p:sp>
        <p:nvSpPr>
          <p:cNvPr id="45" name="Flowchart: Off-page Connector 44">
            <a:extLst>
              <a:ext uri="{FF2B5EF4-FFF2-40B4-BE49-F238E27FC236}">
                <a16:creationId xmlns:a16="http://schemas.microsoft.com/office/drawing/2014/main" id="{B399EB39-A3D7-4EC0-9D48-E3D784BD2DD7}"/>
              </a:ext>
            </a:extLst>
          </p:cNvPr>
          <p:cNvSpPr/>
          <p:nvPr/>
        </p:nvSpPr>
        <p:spPr>
          <a:xfrm>
            <a:off x="7431321" y="5272617"/>
            <a:ext cx="4158824" cy="353665"/>
          </a:xfrm>
          <a:prstGeom prst="flowChartOffpageConnector">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latin typeface="Arial" panose="020B0604020202020204" pitchFamily="34" charset="0"/>
                <a:cs typeface="Arial" panose="020B0604020202020204" pitchFamily="34" charset="0"/>
              </a:rPr>
              <a:t>Committed</a:t>
            </a:r>
            <a:endParaRPr lang="en-CA" sz="1600" dirty="0">
              <a:solidFill>
                <a:schemeClr val="bg1"/>
              </a:solidFill>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78CC5D01-D6DD-4F92-AA98-55AB1B20A00F}"/>
              </a:ext>
            </a:extLst>
          </p:cNvPr>
          <p:cNvSpPr txBox="1"/>
          <p:nvPr/>
        </p:nvSpPr>
        <p:spPr>
          <a:xfrm>
            <a:off x="7431321" y="5609773"/>
            <a:ext cx="4158824"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t>Adopting new ways of working and respecting etiquette.</a:t>
            </a:r>
          </a:p>
        </p:txBody>
      </p:sp>
    </p:spTree>
    <p:extLst>
      <p:ext uri="{BB962C8B-B14F-4D97-AF65-F5344CB8AC3E}">
        <p14:creationId xmlns:p14="http://schemas.microsoft.com/office/powerpoint/2010/main" val="9861891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9087704-33C2-751A-AAA2-42D79C68F89B}"/>
              </a:ext>
            </a:extLst>
          </p:cNvPr>
          <p:cNvSpPr>
            <a:spLocks noGrp="1"/>
          </p:cNvSpPr>
          <p:nvPr>
            <p:ph type="title"/>
          </p:nvPr>
        </p:nvSpPr>
        <p:spPr/>
        <p:txBody>
          <a:bodyPr/>
          <a:lstStyle/>
          <a:p>
            <a:r>
              <a:rPr lang="en-CA" dirty="0"/>
              <a:t>The need for strong leadership – Persona Studies</a:t>
            </a:r>
          </a:p>
        </p:txBody>
      </p:sp>
      <p:sp>
        <p:nvSpPr>
          <p:cNvPr id="15" name="TextBox 14">
            <a:extLst>
              <a:ext uri="{FF2B5EF4-FFF2-40B4-BE49-F238E27FC236}">
                <a16:creationId xmlns:a16="http://schemas.microsoft.com/office/drawing/2014/main" id="{2A224E51-C8E2-AF04-0A70-65F6548C9FA5}"/>
              </a:ext>
            </a:extLst>
          </p:cNvPr>
          <p:cNvSpPr txBox="1"/>
          <p:nvPr/>
        </p:nvSpPr>
        <p:spPr>
          <a:xfrm>
            <a:off x="584792" y="1414802"/>
            <a:ext cx="10813310" cy="3693319"/>
          </a:xfrm>
          <a:prstGeom prst="rect">
            <a:avLst/>
          </a:prstGeom>
          <a:noFill/>
        </p:spPr>
        <p:txBody>
          <a:bodyPr wrap="square" lIns="91440" tIns="45720" rIns="91440" bIns="45720" rtlCol="0" anchor="t">
            <a:spAutoFit/>
          </a:bodyPr>
          <a:lstStyle/>
          <a:p>
            <a:r>
              <a:rPr lang="en-CA" dirty="0"/>
              <a:t>Consider the importance of effective change leadership in terms of individual employees. These personas are hypothetical individuals, experiencing a change to an unassigned work environment.</a:t>
            </a:r>
          </a:p>
          <a:p>
            <a:endParaRPr lang="en-CA" dirty="0"/>
          </a:p>
          <a:p>
            <a:r>
              <a:rPr lang="en-CA" b="1" dirty="0"/>
              <a:t>Denial and resistance</a:t>
            </a:r>
          </a:p>
          <a:p>
            <a:r>
              <a:rPr lang="en-CA" dirty="0"/>
              <a:t>On the </a:t>
            </a:r>
            <a:r>
              <a:rPr lang="en-CA" b="1" dirty="0"/>
              <a:t>left</a:t>
            </a:r>
            <a:r>
              <a:rPr lang="en-CA" dirty="0"/>
              <a:t> of these slides, you will see these personas living under the change and that are in the denial or resisting to the change. Leaders have not communicated a vision for the workplace and are not engaging with employees on the subject. </a:t>
            </a:r>
          </a:p>
          <a:p>
            <a:endParaRPr lang="en-CA" dirty="0"/>
          </a:p>
          <a:p>
            <a:r>
              <a:rPr lang="en-CA" b="1" dirty="0"/>
              <a:t>Exploration and commitment</a:t>
            </a:r>
          </a:p>
          <a:p>
            <a:r>
              <a:rPr lang="en-CA" dirty="0"/>
              <a:t>On the </a:t>
            </a:r>
            <a:r>
              <a:rPr lang="en-CA" b="1" dirty="0"/>
              <a:t>right</a:t>
            </a:r>
            <a:r>
              <a:rPr lang="en-CA" dirty="0"/>
              <a:t> you will see these personas living the change with strong change leadership. Leaders have communicated a clear vision for their workplace and support their employees through the change. Consider the </a:t>
            </a:r>
            <a:r>
              <a:rPr lang="en-CA" b="1" dirty="0"/>
              <a:t>risks</a:t>
            </a:r>
            <a:r>
              <a:rPr lang="en-CA" dirty="0"/>
              <a:t> associated with lack of change leadership: poor morale, operational issues, security risks, and compounding inefficiencies. </a:t>
            </a:r>
            <a:endParaRPr lang="en-CA" dirty="0">
              <a:ea typeface="Calibri Light"/>
              <a:cs typeface="Calibri Light"/>
            </a:endParaRPr>
          </a:p>
        </p:txBody>
      </p:sp>
      <p:sp>
        <p:nvSpPr>
          <p:cNvPr id="16" name="TextBox 15">
            <a:extLst>
              <a:ext uri="{FF2B5EF4-FFF2-40B4-BE49-F238E27FC236}">
                <a16:creationId xmlns:a16="http://schemas.microsoft.com/office/drawing/2014/main" id="{DDBAA832-5D5B-F155-4F32-06C89A6062D9}"/>
              </a:ext>
            </a:extLst>
          </p:cNvPr>
          <p:cNvSpPr txBox="1"/>
          <p:nvPr/>
        </p:nvSpPr>
        <p:spPr>
          <a:xfrm>
            <a:off x="3658871" y="6110272"/>
            <a:ext cx="904774" cy="369332"/>
          </a:xfrm>
          <a:prstGeom prst="rect">
            <a:avLst/>
          </a:prstGeom>
          <a:noFill/>
        </p:spPr>
        <p:txBody>
          <a:bodyPr wrap="square" rtlCol="0">
            <a:spAutoFit/>
          </a:bodyPr>
          <a:lstStyle/>
          <a:p>
            <a:r>
              <a:rPr lang="en-CA" dirty="0"/>
              <a:t>José</a:t>
            </a:r>
          </a:p>
        </p:txBody>
      </p:sp>
      <p:sp>
        <p:nvSpPr>
          <p:cNvPr id="17" name="TextBox 16">
            <a:extLst>
              <a:ext uri="{FF2B5EF4-FFF2-40B4-BE49-F238E27FC236}">
                <a16:creationId xmlns:a16="http://schemas.microsoft.com/office/drawing/2014/main" id="{03D46260-31B6-3CBA-D6E4-2A34CD363B83}"/>
              </a:ext>
            </a:extLst>
          </p:cNvPr>
          <p:cNvSpPr txBox="1"/>
          <p:nvPr/>
        </p:nvSpPr>
        <p:spPr>
          <a:xfrm>
            <a:off x="4948877" y="6145673"/>
            <a:ext cx="1414914" cy="369332"/>
          </a:xfrm>
          <a:prstGeom prst="rect">
            <a:avLst/>
          </a:prstGeom>
          <a:noFill/>
        </p:spPr>
        <p:txBody>
          <a:bodyPr wrap="square" rtlCol="0">
            <a:spAutoFit/>
          </a:bodyPr>
          <a:lstStyle/>
          <a:p>
            <a:r>
              <a:rPr lang="en-CA" dirty="0"/>
              <a:t>John</a:t>
            </a:r>
          </a:p>
        </p:txBody>
      </p:sp>
      <p:sp>
        <p:nvSpPr>
          <p:cNvPr id="19" name="TextBox 18">
            <a:extLst>
              <a:ext uri="{FF2B5EF4-FFF2-40B4-BE49-F238E27FC236}">
                <a16:creationId xmlns:a16="http://schemas.microsoft.com/office/drawing/2014/main" id="{5DABBC32-D0F2-5FB4-F32B-6ACB5C70FCBB}"/>
              </a:ext>
            </a:extLst>
          </p:cNvPr>
          <p:cNvSpPr txBox="1"/>
          <p:nvPr/>
        </p:nvSpPr>
        <p:spPr>
          <a:xfrm>
            <a:off x="6262124" y="6153915"/>
            <a:ext cx="1414914" cy="369332"/>
          </a:xfrm>
          <a:prstGeom prst="rect">
            <a:avLst/>
          </a:prstGeom>
          <a:noFill/>
        </p:spPr>
        <p:txBody>
          <a:bodyPr wrap="square" rtlCol="0">
            <a:spAutoFit/>
          </a:bodyPr>
          <a:lstStyle/>
          <a:p>
            <a:r>
              <a:rPr lang="en-CA" dirty="0"/>
              <a:t>Nina</a:t>
            </a:r>
          </a:p>
        </p:txBody>
      </p:sp>
      <p:sp>
        <p:nvSpPr>
          <p:cNvPr id="18" name="TextBox 17">
            <a:extLst>
              <a:ext uri="{FF2B5EF4-FFF2-40B4-BE49-F238E27FC236}">
                <a16:creationId xmlns:a16="http://schemas.microsoft.com/office/drawing/2014/main" id="{4EF912C3-D6D2-8ADB-9455-F0BB3EFD9484}"/>
              </a:ext>
            </a:extLst>
          </p:cNvPr>
          <p:cNvSpPr txBox="1"/>
          <p:nvPr/>
        </p:nvSpPr>
        <p:spPr>
          <a:xfrm>
            <a:off x="7499936" y="6144943"/>
            <a:ext cx="1414914" cy="369332"/>
          </a:xfrm>
          <a:prstGeom prst="rect">
            <a:avLst/>
          </a:prstGeom>
          <a:noFill/>
        </p:spPr>
        <p:txBody>
          <a:bodyPr wrap="square" rtlCol="0">
            <a:spAutoFit/>
          </a:bodyPr>
          <a:lstStyle/>
          <a:p>
            <a:r>
              <a:rPr lang="en-CA" dirty="0"/>
              <a:t>Pascale</a:t>
            </a:r>
          </a:p>
        </p:txBody>
      </p:sp>
      <p:grpSp>
        <p:nvGrpSpPr>
          <p:cNvPr id="28" name="Group 27">
            <a:extLst>
              <a:ext uri="{FF2B5EF4-FFF2-40B4-BE49-F238E27FC236}">
                <a16:creationId xmlns:a16="http://schemas.microsoft.com/office/drawing/2014/main" id="{6EA4F371-D5EA-8625-54CA-54B81D734C2A}"/>
              </a:ext>
              <a:ext uri="{C183D7F6-B498-43B3-948B-1728B52AA6E4}">
                <adec:decorative xmlns:adec="http://schemas.microsoft.com/office/drawing/2017/decorative" val="1"/>
              </a:ext>
            </a:extLst>
          </p:cNvPr>
          <p:cNvGrpSpPr/>
          <p:nvPr/>
        </p:nvGrpSpPr>
        <p:grpSpPr>
          <a:xfrm>
            <a:off x="3492353" y="5249143"/>
            <a:ext cx="904773" cy="904773"/>
            <a:chOff x="2329283" y="5108121"/>
            <a:chExt cx="904773" cy="904773"/>
          </a:xfrm>
        </p:grpSpPr>
        <p:sp>
          <p:nvSpPr>
            <p:cNvPr id="2" name="Oval 1">
              <a:extLst>
                <a:ext uri="{FF2B5EF4-FFF2-40B4-BE49-F238E27FC236}">
                  <a16:creationId xmlns:a16="http://schemas.microsoft.com/office/drawing/2014/main" id="{C335DD1F-EE65-46A4-6836-FB0648BFC42C}"/>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User with solid fill">
              <a:extLst>
                <a:ext uri="{FF2B5EF4-FFF2-40B4-BE49-F238E27FC236}">
                  <a16:creationId xmlns:a16="http://schemas.microsoft.com/office/drawing/2014/main" id="{FE3F6084-7EE0-402E-8F92-19DCEE3C85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50" y="5171860"/>
              <a:ext cx="706240" cy="706240"/>
            </a:xfrm>
            <a:prstGeom prst="rect">
              <a:avLst/>
            </a:prstGeom>
          </p:spPr>
        </p:pic>
      </p:grpSp>
      <p:grpSp>
        <p:nvGrpSpPr>
          <p:cNvPr id="26" name="Group 25">
            <a:extLst>
              <a:ext uri="{FF2B5EF4-FFF2-40B4-BE49-F238E27FC236}">
                <a16:creationId xmlns:a16="http://schemas.microsoft.com/office/drawing/2014/main" id="{6E2E158F-7E6D-0196-2835-4CADE1CFB295}"/>
              </a:ext>
              <a:ext uri="{C183D7F6-B498-43B3-948B-1728B52AA6E4}">
                <adec:decorative xmlns:adec="http://schemas.microsoft.com/office/drawing/2017/decorative" val="1"/>
              </a:ext>
            </a:extLst>
          </p:cNvPr>
          <p:cNvGrpSpPr/>
          <p:nvPr/>
        </p:nvGrpSpPr>
        <p:grpSpPr>
          <a:xfrm>
            <a:off x="4828214" y="5249143"/>
            <a:ext cx="904773" cy="904773"/>
            <a:chOff x="1294317" y="5153902"/>
            <a:chExt cx="904773" cy="904773"/>
          </a:xfrm>
        </p:grpSpPr>
        <p:sp>
          <p:nvSpPr>
            <p:cNvPr id="14" name="Oval 13">
              <a:extLst>
                <a:ext uri="{FF2B5EF4-FFF2-40B4-BE49-F238E27FC236}">
                  <a16:creationId xmlns:a16="http://schemas.microsoft.com/office/drawing/2014/main" id="{7A5E974F-6B05-08FC-4173-83BBA5A8AE21}"/>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0" name="Graphic 19" descr="User with solid fill">
              <a:extLst>
                <a:ext uri="{FF2B5EF4-FFF2-40B4-BE49-F238E27FC236}">
                  <a16:creationId xmlns:a16="http://schemas.microsoft.com/office/drawing/2014/main" id="{7CEE1165-EA61-F993-5011-8E02509911E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3584" y="5217641"/>
              <a:ext cx="706240" cy="706240"/>
            </a:xfrm>
            <a:prstGeom prst="rect">
              <a:avLst/>
            </a:prstGeom>
          </p:spPr>
        </p:pic>
      </p:grpSp>
      <p:grpSp>
        <p:nvGrpSpPr>
          <p:cNvPr id="27" name="Group 26">
            <a:extLst>
              <a:ext uri="{FF2B5EF4-FFF2-40B4-BE49-F238E27FC236}">
                <a16:creationId xmlns:a16="http://schemas.microsoft.com/office/drawing/2014/main" id="{AB01FB73-CE98-45CB-5F16-A502147DF5B3}"/>
              </a:ext>
              <a:ext uri="{C183D7F6-B498-43B3-948B-1728B52AA6E4}">
                <adec:decorative xmlns:adec="http://schemas.microsoft.com/office/drawing/2017/decorative" val="1"/>
              </a:ext>
            </a:extLst>
          </p:cNvPr>
          <p:cNvGrpSpPr/>
          <p:nvPr/>
        </p:nvGrpSpPr>
        <p:grpSpPr>
          <a:xfrm>
            <a:off x="7499936" y="5249143"/>
            <a:ext cx="904773" cy="904773"/>
            <a:chOff x="1898923" y="6065107"/>
            <a:chExt cx="904773" cy="904773"/>
          </a:xfrm>
        </p:grpSpPr>
        <p:sp>
          <p:nvSpPr>
            <p:cNvPr id="22" name="Oval 21">
              <a:extLst>
                <a:ext uri="{FF2B5EF4-FFF2-40B4-BE49-F238E27FC236}">
                  <a16:creationId xmlns:a16="http://schemas.microsoft.com/office/drawing/2014/main" id="{E4840696-954C-1A4E-6847-D74CEAE33491}"/>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Graphic 22" descr="User with solid fill">
              <a:extLst>
                <a:ext uri="{FF2B5EF4-FFF2-40B4-BE49-F238E27FC236}">
                  <a16:creationId xmlns:a16="http://schemas.microsoft.com/office/drawing/2014/main" id="{A760D1BA-8C8A-C044-C2E1-8FC913B98C0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189" y="6164373"/>
              <a:ext cx="706240" cy="706240"/>
            </a:xfrm>
            <a:prstGeom prst="rect">
              <a:avLst/>
            </a:prstGeom>
          </p:spPr>
        </p:pic>
      </p:grpSp>
      <p:grpSp>
        <p:nvGrpSpPr>
          <p:cNvPr id="25" name="Group 24">
            <a:extLst>
              <a:ext uri="{FF2B5EF4-FFF2-40B4-BE49-F238E27FC236}">
                <a16:creationId xmlns:a16="http://schemas.microsoft.com/office/drawing/2014/main" id="{E29E7E0E-D92F-F33C-D1BA-963EE4F3E01A}"/>
              </a:ext>
              <a:ext uri="{C183D7F6-B498-43B3-948B-1728B52AA6E4}">
                <adec:decorative xmlns:adec="http://schemas.microsoft.com/office/drawing/2017/decorative" val="1"/>
              </a:ext>
            </a:extLst>
          </p:cNvPr>
          <p:cNvGrpSpPr/>
          <p:nvPr/>
        </p:nvGrpSpPr>
        <p:grpSpPr>
          <a:xfrm>
            <a:off x="6164075" y="5249143"/>
            <a:ext cx="904773" cy="904773"/>
            <a:chOff x="290278" y="5160334"/>
            <a:chExt cx="904773" cy="904773"/>
          </a:xfrm>
        </p:grpSpPr>
        <p:sp>
          <p:nvSpPr>
            <p:cNvPr id="21" name="Oval 20">
              <a:extLst>
                <a:ext uri="{FF2B5EF4-FFF2-40B4-BE49-F238E27FC236}">
                  <a16:creationId xmlns:a16="http://schemas.microsoft.com/office/drawing/2014/main" id="{4299E390-035D-ADB8-80FF-70B7B3DA9EAC}"/>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Graphic 23" descr="User with solid fill">
              <a:extLst>
                <a:ext uri="{FF2B5EF4-FFF2-40B4-BE49-F238E27FC236}">
                  <a16:creationId xmlns:a16="http://schemas.microsoft.com/office/drawing/2014/main" id="{7D6BAF27-D0DA-CD60-8917-D79EF716E4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3880995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254A6-86DE-4A21-B094-C9AE8BEEF21A}"/>
              </a:ext>
            </a:extLst>
          </p:cNvPr>
          <p:cNvSpPr txBox="1">
            <a:spLocks noGrp="1"/>
          </p:cNvSpPr>
          <p:nvPr>
            <p:ph type="title" idx="4294967295"/>
          </p:nvPr>
        </p:nvSpPr>
        <p:spPr>
          <a:xfrm>
            <a:off x="4213636" y="201092"/>
            <a:ext cx="3737810"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800" b="1" i="0" u="none" strike="noStrike" kern="1200" cap="none" spc="0" normalizeH="0" baseline="0" noProof="0" dirty="0">
                <a:ln>
                  <a:noFill/>
                </a:ln>
                <a:solidFill>
                  <a:schemeClr val="tx1"/>
                </a:solidFill>
                <a:effectLst/>
                <a:uLnTx/>
                <a:uFillTx/>
                <a:latin typeface="Calibri"/>
                <a:ea typeface="Calibri"/>
                <a:cs typeface="Calibri"/>
              </a:rPr>
              <a:t>José’s security concerns</a:t>
            </a:r>
          </a:p>
        </p:txBody>
      </p:sp>
      <p:sp>
        <p:nvSpPr>
          <p:cNvPr id="8" name="Google Shape;180;p17">
            <a:extLst>
              <a:ext uri="{FF2B5EF4-FFF2-40B4-BE49-F238E27FC236}">
                <a16:creationId xmlns:a16="http://schemas.microsoft.com/office/drawing/2014/main" id="{96EFBFBE-8CD7-D471-D8B0-8D13BB75ECC5}"/>
              </a:ext>
            </a:extLst>
          </p:cNvPr>
          <p:cNvSpPr txBox="1"/>
          <p:nvPr/>
        </p:nvSpPr>
        <p:spPr>
          <a:xfrm>
            <a:off x="1588652" y="2343313"/>
            <a:ext cx="3584655" cy="2790831"/>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 told about an upcoming move to an unassigned environment, but felt it could never work for his team because of security concerns. </a:t>
            </a:r>
          </a:p>
          <a:p>
            <a:endParaRPr lang="en" sz="1600" dirty="0">
              <a:latin typeface="Calibri" panose="020F0502020204030204" pitchFamily="34" charset="0"/>
              <a:ea typeface="Calibri" panose="020F0502020204030204" pitchFamily="34" charset="0"/>
              <a:cs typeface="Calibri" panose="020F0502020204030204" pitchFamily="34" charset="0"/>
              <a:sym typeface="Roboto"/>
            </a:endParaRPr>
          </a:p>
          <a:p>
            <a:r>
              <a:rPr lang="en" sz="1600" dirty="0">
                <a:latin typeface="Calibri" panose="020F0502020204030204" pitchFamily="34" charset="0"/>
                <a:ea typeface="Calibri" panose="020F0502020204030204" pitchFamily="34" charset="0"/>
                <a:cs typeface="Calibri" panose="020F0502020204030204" pitchFamily="34" charset="0"/>
                <a:sym typeface="Roboto"/>
              </a:rPr>
              <a:t>Rather than engaging with the process and finding a solution to these concerns, he assumed his team would be allowed to keep their cubilces. Now they’re being told t</a:t>
            </a:r>
            <a:r>
              <a:rPr lang="en-CA" sz="1600" dirty="0">
                <a:latin typeface="Calibri" panose="020F0502020204030204" pitchFamily="34" charset="0"/>
                <a:ea typeface="Calibri" panose="020F0502020204030204" pitchFamily="34" charset="0"/>
                <a:cs typeface="Calibri" panose="020F0502020204030204" pitchFamily="34" charset="0"/>
                <a:sym typeface="Roboto"/>
              </a:rPr>
              <a:t>he</a:t>
            </a:r>
            <a:r>
              <a:rPr lang="en" sz="1600" dirty="0">
                <a:latin typeface="Calibri" panose="020F0502020204030204" pitchFamily="34" charset="0"/>
                <a:ea typeface="Calibri" panose="020F0502020204030204" pitchFamily="34" charset="0"/>
                <a:cs typeface="Calibri" panose="020F0502020204030204" pitchFamily="34" charset="0"/>
                <a:sym typeface="Roboto"/>
              </a:rPr>
              <a:t> move is imminent.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Google Shape;180;p17">
            <a:extLst>
              <a:ext uri="{FF2B5EF4-FFF2-40B4-BE49-F238E27FC236}">
                <a16:creationId xmlns:a16="http://schemas.microsoft.com/office/drawing/2014/main" id="{3F9CB8D4-6144-CAF9-0CC6-38351C152F7F}"/>
              </a:ext>
            </a:extLst>
          </p:cNvPr>
          <p:cNvSpPr txBox="1"/>
          <p:nvPr/>
        </p:nvSpPr>
        <p:spPr>
          <a:xfrm>
            <a:off x="7130117" y="2349483"/>
            <a:ext cx="3408845" cy="2627429"/>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n’t sure about the new workspace, but his management made it clear that this was the way forward and invited him to actively engage with the process. </a:t>
            </a:r>
          </a:p>
          <a:p>
            <a:endParaRPr lang="en" sz="1600" dirty="0">
              <a:latin typeface="Calibri" panose="020F0502020204030204" pitchFamily="34" charset="0"/>
              <a:ea typeface="Calibri" panose="020F0502020204030204" pitchFamily="34" charset="0"/>
              <a:cs typeface="Calibri" panose="020F0502020204030204" pitchFamily="34" charset="0"/>
              <a:sym typeface="Roboto"/>
            </a:endParaRPr>
          </a:p>
          <a:p>
            <a:r>
              <a:rPr lang="en" sz="1600" dirty="0">
                <a:latin typeface="Calibri" panose="020F0502020204030204" pitchFamily="34" charset="0"/>
                <a:ea typeface="Calibri" panose="020F0502020204030204" pitchFamily="34" charset="0"/>
                <a:cs typeface="Calibri" panose="020F0502020204030204" pitchFamily="34" charset="0"/>
                <a:sym typeface="Roboto"/>
              </a:rPr>
              <a:t>José was given space to clearly articulate his team’s security needs and the appropriate accomodations where made.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0" name="Arrow: Chevron 9">
            <a:extLst>
              <a:ext uri="{FF2B5EF4-FFF2-40B4-BE49-F238E27FC236}">
                <a16:creationId xmlns:a16="http://schemas.microsoft.com/office/drawing/2014/main" id="{2EA7841F-B628-5763-87F4-5C2C97873218}"/>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3" name="Arrow: Chevron 12">
            <a:extLst>
              <a:ext uri="{FF2B5EF4-FFF2-40B4-BE49-F238E27FC236}">
                <a16:creationId xmlns:a16="http://schemas.microsoft.com/office/drawing/2014/main" id="{F4B3BF70-A09E-2CC1-D775-70C144DE22D1}"/>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3" name="Group 2">
            <a:extLst>
              <a:ext uri="{FF2B5EF4-FFF2-40B4-BE49-F238E27FC236}">
                <a16:creationId xmlns:a16="http://schemas.microsoft.com/office/drawing/2014/main" id="{AE983709-3980-9C85-CD65-639C81613A88}"/>
              </a:ext>
              <a:ext uri="{C183D7F6-B498-43B3-948B-1728B52AA6E4}">
                <adec:decorative xmlns:adec="http://schemas.microsoft.com/office/drawing/2017/decorative" val="1"/>
              </a:ext>
            </a:extLst>
          </p:cNvPr>
          <p:cNvGrpSpPr/>
          <p:nvPr/>
        </p:nvGrpSpPr>
        <p:grpSpPr>
          <a:xfrm>
            <a:off x="5476140" y="1399837"/>
            <a:ext cx="904773" cy="904773"/>
            <a:chOff x="2329283" y="5108121"/>
            <a:chExt cx="904773" cy="904773"/>
          </a:xfrm>
        </p:grpSpPr>
        <p:sp>
          <p:nvSpPr>
            <p:cNvPr id="4" name="Oval 3">
              <a:extLst>
                <a:ext uri="{FF2B5EF4-FFF2-40B4-BE49-F238E27FC236}">
                  <a16:creationId xmlns:a16="http://schemas.microsoft.com/office/drawing/2014/main" id="{45E3BBE5-EC6C-60B6-101C-EFFCA8D678C3}"/>
                </a:ext>
                <a:ext uri="{C183D7F6-B498-43B3-948B-1728B52AA6E4}">
                  <adec:decorative xmlns:adec="http://schemas.microsoft.com/office/drawing/2017/decorative" val="1"/>
                </a:ext>
              </a:extLst>
            </p:cNvPr>
            <p:cNvSpPr/>
            <p:nvPr/>
          </p:nvSpPr>
          <p:spPr>
            <a:xfrm>
              <a:off x="2329283" y="5108121"/>
              <a:ext cx="904773" cy="904773"/>
            </a:xfrm>
            <a:prstGeom prst="ellipse">
              <a:avLst/>
            </a:prstGeom>
            <a:solidFill>
              <a:srgbClr val="F2A92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 name="Graphic 4" descr="User with solid fill">
              <a:extLst>
                <a:ext uri="{FF2B5EF4-FFF2-40B4-BE49-F238E27FC236}">
                  <a16:creationId xmlns:a16="http://schemas.microsoft.com/office/drawing/2014/main" id="{9BA9D19D-E56A-FE30-F5EC-735FE847CB0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50" y="5171860"/>
              <a:ext cx="706240" cy="706240"/>
            </a:xfrm>
            <a:prstGeom prst="rect">
              <a:avLst/>
            </a:prstGeom>
          </p:spPr>
        </p:pic>
      </p:grpSp>
    </p:spTree>
    <p:extLst>
      <p:ext uri="{BB962C8B-B14F-4D97-AF65-F5344CB8AC3E}">
        <p14:creationId xmlns:p14="http://schemas.microsoft.com/office/powerpoint/2010/main" val="32485444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1CEF9E92-F5EA-929E-089A-77CB316CD4E6}"/>
              </a:ext>
            </a:extLst>
          </p:cNvPr>
          <p:cNvSpPr txBox="1">
            <a:spLocks noGrp="1"/>
          </p:cNvSpPr>
          <p:nvPr>
            <p:ph type="title" idx="4294967295"/>
          </p:nvPr>
        </p:nvSpPr>
        <p:spPr>
          <a:xfrm>
            <a:off x="4644351" y="207418"/>
            <a:ext cx="2640619"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tx1"/>
                </a:solidFill>
                <a:effectLst/>
                <a:uLnTx/>
                <a:uFillTx/>
                <a:latin typeface="Calibri"/>
                <a:ea typeface="Calibri"/>
                <a:cs typeface="Calibri"/>
              </a:rPr>
              <a:t>John’s </a:t>
            </a:r>
            <a:r>
              <a:rPr kumimoji="0" lang="fr-CA" sz="2800" b="1" i="0" u="none" strike="noStrike" kern="1200" cap="none" spc="0" normalizeH="0" baseline="0" noProof="0" dirty="0" err="1">
                <a:ln>
                  <a:noFill/>
                </a:ln>
                <a:solidFill>
                  <a:schemeClr val="tx1"/>
                </a:solidFill>
                <a:effectLst/>
                <a:uLnTx/>
                <a:uFillTx/>
                <a:latin typeface="Calibri"/>
                <a:ea typeface="Calibri"/>
                <a:cs typeface="Calibri"/>
              </a:rPr>
              <a:t>Cubicle</a:t>
            </a:r>
            <a:endParaRPr kumimoji="0" lang="en-CA" sz="2800" b="1" i="0" u="none" strike="noStrike" kern="1200" cap="none" spc="0" normalizeH="0" baseline="0" noProof="0" dirty="0">
              <a:ln>
                <a:noFill/>
              </a:ln>
              <a:solidFill>
                <a:schemeClr val="tx1"/>
              </a:solidFill>
              <a:effectLst/>
              <a:uLnTx/>
              <a:uFillTx/>
              <a:latin typeface="Calibri"/>
              <a:ea typeface="Calibri"/>
              <a:cs typeface="Calibri"/>
            </a:endParaRPr>
          </a:p>
        </p:txBody>
      </p:sp>
      <p:sp>
        <p:nvSpPr>
          <p:cNvPr id="4" name="Google Shape;163;p17">
            <a:extLst>
              <a:ext uri="{FF2B5EF4-FFF2-40B4-BE49-F238E27FC236}">
                <a16:creationId xmlns:a16="http://schemas.microsoft.com/office/drawing/2014/main" id="{467DDDC7-7CBB-BC5B-C7E3-CCA15A516CCE}"/>
              </a:ext>
            </a:extLst>
          </p:cNvPr>
          <p:cNvSpPr txBox="1"/>
          <p:nvPr/>
        </p:nvSpPr>
        <p:spPr>
          <a:xfrm>
            <a:off x="1413110" y="2506271"/>
            <a:ext cx="3724947" cy="1604297"/>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John worked entirely remotely during the height of the pandemic. When he first came back to the office he found a cubile in a sparsely occupied area and set himself up there: snacks and a change of clothes in a desk drawer, and pictures of his family on the walls. Nobody’s complained so he figures that’s fine.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8" name="TextBox 7">
            <a:extLst>
              <a:ext uri="{FF2B5EF4-FFF2-40B4-BE49-F238E27FC236}">
                <a16:creationId xmlns:a16="http://schemas.microsoft.com/office/drawing/2014/main" id="{D1BB5A4D-1910-BA41-710E-649A068A1729}"/>
              </a:ext>
            </a:extLst>
          </p:cNvPr>
          <p:cNvSpPr txBox="1"/>
          <p:nvPr/>
        </p:nvSpPr>
        <p:spPr>
          <a:xfrm>
            <a:off x="6801152" y="2626851"/>
            <a:ext cx="3628724" cy="2062103"/>
          </a:xfrm>
          <a:prstGeom prst="rect">
            <a:avLst/>
          </a:prstGeom>
          <a:noFill/>
        </p:spPr>
        <p:txBody>
          <a:bodyPr wrap="square" rtlCol="0">
            <a:spAutoFit/>
          </a:bodyPr>
          <a:lstStyle/>
          <a:p>
            <a:r>
              <a:rPr lang="en-CA" sz="1600" dirty="0">
                <a:latin typeface="Calibri" panose="020F0502020204030204" pitchFamily="34" charset="0"/>
                <a:ea typeface="Calibri" panose="020F0502020204030204" pitchFamily="34" charset="0"/>
                <a:cs typeface="Calibri" panose="020F0502020204030204" pitchFamily="34" charset="0"/>
              </a:rPr>
              <a:t>If it was up to John he would’ve kept his cubicle, but he understood the need for unassigned spaces and felt supported in this transition by management. He makes use of the lockers provided in the space. He’s seeing his colleagues more which makes him feel more involved in the team.</a:t>
            </a:r>
          </a:p>
        </p:txBody>
      </p:sp>
      <p:sp>
        <p:nvSpPr>
          <p:cNvPr id="11" name="Arrow: Chevron 10">
            <a:extLst>
              <a:ext uri="{FF2B5EF4-FFF2-40B4-BE49-F238E27FC236}">
                <a16:creationId xmlns:a16="http://schemas.microsoft.com/office/drawing/2014/main" id="{EEBEEEDC-E1F4-8FA3-B8F2-7A671D83EA29}"/>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685A1C3C-CD95-F23A-428E-43FE69A9432E}"/>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9" name="Group 18">
            <a:extLst>
              <a:ext uri="{FF2B5EF4-FFF2-40B4-BE49-F238E27FC236}">
                <a16:creationId xmlns:a16="http://schemas.microsoft.com/office/drawing/2014/main" id="{3F576723-1325-39B0-1B3A-219E42A7C930}"/>
              </a:ext>
              <a:ext uri="{C183D7F6-B498-43B3-948B-1728B52AA6E4}">
                <adec:decorative xmlns:adec="http://schemas.microsoft.com/office/drawing/2017/decorative" val="1"/>
              </a:ext>
            </a:extLst>
          </p:cNvPr>
          <p:cNvGrpSpPr/>
          <p:nvPr/>
        </p:nvGrpSpPr>
        <p:grpSpPr>
          <a:xfrm>
            <a:off x="5476139" y="1419188"/>
            <a:ext cx="904773" cy="904773"/>
            <a:chOff x="1294317" y="5153902"/>
            <a:chExt cx="904773" cy="904773"/>
          </a:xfrm>
        </p:grpSpPr>
        <p:sp>
          <p:nvSpPr>
            <p:cNvPr id="20" name="Oval 19">
              <a:extLst>
                <a:ext uri="{FF2B5EF4-FFF2-40B4-BE49-F238E27FC236}">
                  <a16:creationId xmlns:a16="http://schemas.microsoft.com/office/drawing/2014/main" id="{80986B04-35AD-0CC6-9808-00E4D90395CA}"/>
                </a:ext>
                <a:ext uri="{C183D7F6-B498-43B3-948B-1728B52AA6E4}">
                  <adec:decorative xmlns:adec="http://schemas.microsoft.com/office/drawing/2017/decorative" val="1"/>
                </a:ext>
              </a:extLst>
            </p:cNvPr>
            <p:cNvSpPr/>
            <p:nvPr/>
          </p:nvSpPr>
          <p:spPr>
            <a:xfrm>
              <a:off x="1294317" y="5153902"/>
              <a:ext cx="904773" cy="904773"/>
            </a:xfrm>
            <a:prstGeom prst="ellipse">
              <a:avLst/>
            </a:prstGeom>
            <a:solidFill>
              <a:srgbClr val="18853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1" name="Graphic 20" descr="User with solid fill">
              <a:extLst>
                <a:ext uri="{FF2B5EF4-FFF2-40B4-BE49-F238E27FC236}">
                  <a16:creationId xmlns:a16="http://schemas.microsoft.com/office/drawing/2014/main" id="{078E8881-7BCD-BFFD-AC84-3A8364E2CC7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93584" y="5217641"/>
              <a:ext cx="706240" cy="706240"/>
            </a:xfrm>
            <a:prstGeom prst="rect">
              <a:avLst/>
            </a:prstGeom>
          </p:spPr>
        </p:pic>
      </p:grpSp>
    </p:spTree>
    <p:extLst>
      <p:ext uri="{BB962C8B-B14F-4D97-AF65-F5344CB8AC3E}">
        <p14:creationId xmlns:p14="http://schemas.microsoft.com/office/powerpoint/2010/main" val="2239565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EAACD6-B4F1-8DE4-7C32-D9BA09515897}"/>
              </a:ext>
            </a:extLst>
          </p:cNvPr>
          <p:cNvSpPr txBox="1">
            <a:spLocks noGrp="1"/>
          </p:cNvSpPr>
          <p:nvPr>
            <p:ph type="title" idx="4294967295"/>
          </p:nvPr>
        </p:nvSpPr>
        <p:spPr>
          <a:xfrm>
            <a:off x="298580" y="514969"/>
            <a:ext cx="9284807"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n-ea"/>
                <a:cs typeface="+mn-cs"/>
              </a:rPr>
              <a:t>How to use this document</a:t>
            </a:r>
          </a:p>
        </p:txBody>
      </p:sp>
      <p:sp>
        <p:nvSpPr>
          <p:cNvPr id="6" name="TextBox 5">
            <a:extLst>
              <a:ext uri="{FF2B5EF4-FFF2-40B4-BE49-F238E27FC236}">
                <a16:creationId xmlns:a16="http://schemas.microsoft.com/office/drawing/2014/main" id="{E721DAC6-2C79-1360-C798-8A813E90139B}"/>
              </a:ext>
            </a:extLst>
          </p:cNvPr>
          <p:cNvSpPr txBox="1"/>
          <p:nvPr/>
        </p:nvSpPr>
        <p:spPr>
          <a:xfrm>
            <a:off x="593651" y="1451247"/>
            <a:ext cx="11021175" cy="2585323"/>
          </a:xfrm>
          <a:prstGeom prst="rect">
            <a:avLst/>
          </a:prstGeom>
          <a:noFill/>
        </p:spPr>
        <p:txBody>
          <a:bodyPr wrap="square">
            <a:spAutoFit/>
          </a:bodyPr>
          <a:lstStyle/>
          <a:p>
            <a:r>
              <a:rPr lang="en-CA" b="1" i="0" u="none" strike="noStrike" cap="none">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 </a:t>
            </a:r>
            <a:r>
              <a:rPr lang="en-CA" i="0" u="none" strike="noStrike" cap="none">
                <a:latin typeface="Calibri Light" panose="020F0302020204030204" pitchFamily="34" charset="0"/>
                <a:ea typeface="Calibri Light" panose="020F0302020204030204" pitchFamily="34" charset="0"/>
                <a:cs typeface="Calibri Light" panose="020F0302020204030204" pitchFamily="34" charset="0"/>
                <a:sym typeface="Calibri"/>
              </a:rPr>
              <a:t>To present to leadership (EX-1 +) in an organization to help them understand their </a:t>
            </a:r>
            <a:r>
              <a:rPr lang="en-CA">
                <a:latin typeface="Calibri Light" panose="020F0302020204030204" pitchFamily="34" charset="0"/>
                <a:ea typeface="Calibri Light" panose="020F0302020204030204" pitchFamily="34" charset="0"/>
                <a:cs typeface="Calibri Light" panose="020F0302020204030204" pitchFamily="34" charset="0"/>
                <a:sym typeface="Calibri"/>
              </a:rPr>
              <a:t>role in a transition to new office space policies. </a:t>
            </a:r>
            <a:r>
              <a:rPr lang="en-CA" i="0" u="none" strike="noStrike" cap="none">
                <a:latin typeface="Calibri Light" panose="020F0302020204030204" pitchFamily="34" charset="0"/>
                <a:ea typeface="Calibri Light" panose="020F0302020204030204" pitchFamily="34" charset="0"/>
                <a:cs typeface="Calibri Light" panose="020F0302020204030204" pitchFamily="34" charset="0"/>
                <a:sym typeface="Calibri"/>
              </a:rPr>
              <a:t> May also be shared as a deck among executives. </a:t>
            </a:r>
          </a:p>
          <a:p>
            <a:endParaRPr lang="en-CA">
              <a:latin typeface="Calibri Light" panose="020F0302020204030204" pitchFamily="34" charset="0"/>
              <a:ea typeface="Calibri Light" panose="020F0302020204030204" pitchFamily="34" charset="0"/>
              <a:cs typeface="Calibri Light" panose="020F0302020204030204" pitchFamily="34" charset="0"/>
            </a:endParaRPr>
          </a:p>
          <a:p>
            <a:r>
              <a:rPr lang="en-CA" b="1">
                <a:latin typeface="Calibri Light" panose="020F0302020204030204" pitchFamily="34" charset="0"/>
                <a:ea typeface="Calibri Light" panose="020F0302020204030204" pitchFamily="34" charset="0"/>
                <a:cs typeface="Calibri Light" panose="020F0302020204030204" pitchFamily="34" charset="0"/>
              </a:rPr>
              <a:t>WHEN: </a:t>
            </a:r>
            <a:r>
              <a:rPr lang="en-CA">
                <a:latin typeface="Calibri Light" panose="020F0302020204030204" pitchFamily="34" charset="0"/>
                <a:ea typeface="Calibri Light" panose="020F0302020204030204" pitchFamily="34" charset="0"/>
                <a:cs typeface="Calibri Light" panose="020F0302020204030204" pitchFamily="34" charset="0"/>
                <a:sym typeface="Calibri"/>
              </a:rPr>
              <a:t>As early as possible, following identification of sponsor. </a:t>
            </a:r>
            <a:endParaRPr lang="en-CA" i="0" u="none" strike="noStrike" cap="none">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a:latin typeface="Calibri Light" panose="020F0302020204030204" pitchFamily="34" charset="0"/>
              <a:ea typeface="Calibri Light" panose="020F0302020204030204" pitchFamily="34" charset="0"/>
              <a:cs typeface="Calibri Light" panose="020F0302020204030204" pitchFamily="34" charset="0"/>
            </a:endParaRPr>
          </a:p>
          <a:p>
            <a:r>
              <a:rPr lang="en-CA" b="1">
                <a:latin typeface="Calibri Light" panose="020F0302020204030204" pitchFamily="34" charset="0"/>
                <a:ea typeface="Calibri Light" panose="020F0302020204030204" pitchFamily="34" charset="0"/>
                <a:cs typeface="Calibri Light" panose="020F0302020204030204" pitchFamily="34" charset="0"/>
              </a:rPr>
              <a:t>HOW: </a:t>
            </a:r>
            <a:r>
              <a:rPr lang="en-CA">
                <a:latin typeface="Calibri Light" panose="020F0302020204030204" pitchFamily="34" charset="0"/>
                <a:ea typeface="Calibri Light" panose="020F0302020204030204" pitchFamily="34" charset="0"/>
                <a:cs typeface="Calibri Light" panose="020F0302020204030204" pitchFamily="34" charset="0"/>
                <a:sym typeface="Calibri"/>
              </a:rPr>
              <a:t>Presented by project sponsor at executive committees, or forums. It is critical that this be presented by an executive, ideally the executive sponsor. </a:t>
            </a:r>
            <a:endParaRPr lang="en-CA" i="0" u="none" strike="noStrike" cap="none">
              <a:latin typeface="Calibri Light" panose="020F0302020204030204" pitchFamily="34" charset="0"/>
              <a:ea typeface="Calibri Light" panose="020F0302020204030204" pitchFamily="34" charset="0"/>
              <a:cs typeface="Calibri Light" panose="020F0302020204030204" pitchFamily="34" charset="0"/>
              <a:sym typeface="Calibri"/>
            </a:endParaRPr>
          </a:p>
          <a:p>
            <a:endParaRPr lang="en-CA">
              <a:latin typeface="Calibri Light" panose="020F0302020204030204" pitchFamily="34" charset="0"/>
              <a:ea typeface="Calibri Light" panose="020F0302020204030204" pitchFamily="34" charset="0"/>
              <a:cs typeface="Calibri Light" panose="020F0302020204030204" pitchFamily="34" charset="0"/>
            </a:endParaRPr>
          </a:p>
          <a:p>
            <a:r>
              <a:rPr lang="en-CA" i="1">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i="1">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FR version</a:t>
            </a:r>
            <a:endParaRPr lang="en-CA">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7" name="Google Shape;274;p2">
            <a:extLst>
              <a:ext uri="{FF2B5EF4-FFF2-40B4-BE49-F238E27FC236}">
                <a16:creationId xmlns:a16="http://schemas.microsoft.com/office/drawing/2014/main" id="{1BB55E0A-6F72-0999-0ACE-64DCC8775AAC}"/>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9238868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7A3D9691-2EF5-8BFD-F0A0-97FB021A1A74}"/>
              </a:ext>
            </a:extLst>
          </p:cNvPr>
          <p:cNvSpPr txBox="1">
            <a:spLocks noGrp="1"/>
          </p:cNvSpPr>
          <p:nvPr>
            <p:ph type="title" idx="4294967295"/>
          </p:nvPr>
        </p:nvSpPr>
        <p:spPr>
          <a:xfrm>
            <a:off x="4846678" y="200982"/>
            <a:ext cx="2110531" cy="52322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err="1">
                <a:ln>
                  <a:noFill/>
                </a:ln>
                <a:solidFill>
                  <a:schemeClr val="tx1"/>
                </a:solidFill>
                <a:effectLst/>
                <a:uLnTx/>
                <a:uFillTx/>
                <a:latin typeface="Calibri"/>
                <a:ea typeface="Calibri"/>
                <a:cs typeface="Calibri"/>
              </a:rPr>
              <a:t>Nina’s</a:t>
            </a:r>
            <a:r>
              <a:rPr kumimoji="0" lang="fr-CA" sz="2800" b="1" i="0" u="none" strike="noStrike" kern="1200" cap="none" spc="0" normalizeH="0" baseline="0" noProof="0" dirty="0">
                <a:ln>
                  <a:noFill/>
                </a:ln>
                <a:solidFill>
                  <a:schemeClr val="tx1"/>
                </a:solidFill>
                <a:effectLst/>
                <a:uLnTx/>
                <a:uFillTx/>
                <a:latin typeface="Calibri"/>
                <a:ea typeface="Calibri"/>
                <a:cs typeface="Calibri"/>
              </a:rPr>
              <a:t> Office</a:t>
            </a:r>
            <a:endParaRPr kumimoji="0" lang="en-CA" sz="2800" b="1" i="0" u="none" strike="noStrike" kern="1200" cap="none" spc="0" normalizeH="0" baseline="0" noProof="0" dirty="0">
              <a:ln>
                <a:noFill/>
              </a:ln>
              <a:solidFill>
                <a:schemeClr val="tx1"/>
              </a:solidFill>
              <a:effectLst/>
              <a:uLnTx/>
              <a:uFillTx/>
              <a:latin typeface="Calibri"/>
              <a:ea typeface="Calibri"/>
              <a:cs typeface="Calibri"/>
            </a:endParaRPr>
          </a:p>
        </p:txBody>
      </p:sp>
      <p:sp>
        <p:nvSpPr>
          <p:cNvPr id="8" name="Google Shape;168;p17">
            <a:extLst>
              <a:ext uri="{FF2B5EF4-FFF2-40B4-BE49-F238E27FC236}">
                <a16:creationId xmlns:a16="http://schemas.microsoft.com/office/drawing/2014/main" id="{A9FC7316-1608-7A0F-764B-4353EE47E850}"/>
              </a:ext>
            </a:extLst>
          </p:cNvPr>
          <p:cNvSpPr txBox="1"/>
          <p:nvPr/>
        </p:nvSpPr>
        <p:spPr>
          <a:xfrm>
            <a:off x="1315614" y="2412238"/>
            <a:ext cx="4074774" cy="2033523"/>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Nina has always felt that having an enclosed office was a mark of all the hard work she has put into her career, and was a source of pride. As an executive in her organization she was entitled to an enclosed office before the pandemic, and she interprets the current common hybrid work model as a return to pre-pandemic standards. She’s decided to pick an enclosed room and make that her permanent office. She sees her fellow executives doing the same so she figures she is justified.</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9" name="Google Shape;168;p17">
            <a:extLst>
              <a:ext uri="{FF2B5EF4-FFF2-40B4-BE49-F238E27FC236}">
                <a16:creationId xmlns:a16="http://schemas.microsoft.com/office/drawing/2014/main" id="{124B1481-76CC-FA32-D369-30B4187EED5E}"/>
              </a:ext>
            </a:extLst>
          </p:cNvPr>
          <p:cNvSpPr txBox="1"/>
          <p:nvPr/>
        </p:nvSpPr>
        <p:spPr>
          <a:xfrm>
            <a:off x="6801152" y="2412238"/>
            <a:ext cx="4074774" cy="2904302"/>
          </a:xfrm>
          <a:prstGeom prst="rect">
            <a:avLst/>
          </a:prstGeom>
          <a:noFill/>
          <a:ln>
            <a:noFill/>
          </a:ln>
        </p:spPr>
        <p:txBody>
          <a:bodyPr spcFirstLastPara="1" wrap="square" lIns="121900" tIns="121900" rIns="121900" bIns="121900" anchor="t" anchorCtr="0">
            <a:noAutofit/>
          </a:bodyPr>
          <a:lstStyle/>
          <a:p>
            <a:r>
              <a:rPr lang="en-CA" sz="1600" dirty="0">
                <a:latin typeface="Calibri" panose="020F0502020204030204" pitchFamily="34" charset="0"/>
                <a:ea typeface="Calibri" panose="020F0502020204030204" pitchFamily="34" charset="0"/>
                <a:cs typeface="Calibri" panose="020F0502020204030204" pitchFamily="34" charset="0"/>
                <a:sym typeface="Roboto"/>
              </a:rPr>
              <a:t>Nina understands that unassigned is the new standard for office spaces for all of the Government of Canada, regardless of the current hybrid work model. She feels supported and heard by her organization in what for her is a difficult transition. It helps to see that all her executive colleagues are in this together navigating the same change. Because the office space is truly unassigned, she is seeing the benefits this is having for her employees who now have more choice over their work point.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Arrow: Chevron 10">
            <a:extLst>
              <a:ext uri="{FF2B5EF4-FFF2-40B4-BE49-F238E27FC236}">
                <a16:creationId xmlns:a16="http://schemas.microsoft.com/office/drawing/2014/main" id="{B2D18239-4E11-C0B2-0631-BF29DDACBA2E}"/>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C8C85D34-1249-5642-ABED-278CF0494204}"/>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6" name="Group 15">
            <a:extLst>
              <a:ext uri="{FF2B5EF4-FFF2-40B4-BE49-F238E27FC236}">
                <a16:creationId xmlns:a16="http://schemas.microsoft.com/office/drawing/2014/main" id="{FF1EFBF3-D81A-B850-4673-EAECE5408B0F}"/>
              </a:ext>
              <a:ext uri="{C183D7F6-B498-43B3-948B-1728B52AA6E4}">
                <adec:decorative xmlns:adec="http://schemas.microsoft.com/office/drawing/2017/decorative" val="1"/>
              </a:ext>
            </a:extLst>
          </p:cNvPr>
          <p:cNvGrpSpPr/>
          <p:nvPr/>
        </p:nvGrpSpPr>
        <p:grpSpPr>
          <a:xfrm>
            <a:off x="5476138" y="1419187"/>
            <a:ext cx="904773" cy="904773"/>
            <a:chOff x="290278" y="5160334"/>
            <a:chExt cx="904773" cy="904773"/>
          </a:xfrm>
        </p:grpSpPr>
        <p:sp>
          <p:nvSpPr>
            <p:cNvPr id="17" name="Oval 16">
              <a:extLst>
                <a:ext uri="{FF2B5EF4-FFF2-40B4-BE49-F238E27FC236}">
                  <a16:creationId xmlns:a16="http://schemas.microsoft.com/office/drawing/2014/main" id="{BA21A81B-E35B-B8C9-AC72-2CF6A7686DAA}"/>
                </a:ext>
                <a:ext uri="{C183D7F6-B498-43B3-948B-1728B52AA6E4}">
                  <adec:decorative xmlns:adec="http://schemas.microsoft.com/office/drawing/2017/decorative" val="1"/>
                </a:ext>
              </a:extLst>
            </p:cNvPr>
            <p:cNvSpPr/>
            <p:nvPr/>
          </p:nvSpPr>
          <p:spPr>
            <a:xfrm>
              <a:off x="290278" y="5160334"/>
              <a:ext cx="904773" cy="904773"/>
            </a:xfrm>
            <a:prstGeom prst="ellipse">
              <a:avLst/>
            </a:prstGeom>
            <a:solidFill>
              <a:srgbClr val="4CB6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Graphic 17" descr="User with solid fill">
              <a:extLst>
                <a:ext uri="{FF2B5EF4-FFF2-40B4-BE49-F238E27FC236}">
                  <a16:creationId xmlns:a16="http://schemas.microsoft.com/office/drawing/2014/main" id="{7A0D6286-5033-298F-3F9E-0816F959D8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9544" y="5259600"/>
              <a:ext cx="706240" cy="706240"/>
            </a:xfrm>
            <a:prstGeom prst="rect">
              <a:avLst/>
            </a:prstGeom>
          </p:spPr>
        </p:pic>
      </p:grpSp>
    </p:spTree>
    <p:extLst>
      <p:ext uri="{BB962C8B-B14F-4D97-AF65-F5344CB8AC3E}">
        <p14:creationId xmlns:p14="http://schemas.microsoft.com/office/powerpoint/2010/main" val="42264076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8055C5-C3B2-54D4-BDF8-80FA55C8F1BD}"/>
              </a:ext>
            </a:extLst>
          </p:cNvPr>
          <p:cNvSpPr txBox="1">
            <a:spLocks noGrp="1"/>
          </p:cNvSpPr>
          <p:nvPr>
            <p:ph type="title" idx="4294967295"/>
          </p:nvPr>
        </p:nvSpPr>
        <p:spPr>
          <a:xfrm>
            <a:off x="4007119" y="430380"/>
            <a:ext cx="4172966" cy="46166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solidFill>
                <a:effectLst/>
                <a:uLnTx/>
                <a:uFillTx/>
                <a:latin typeface="Calibri"/>
                <a:ea typeface="Calibri Light"/>
                <a:cs typeface="Calibri Light"/>
              </a:rPr>
              <a:t>Pascale's Noisy Environment</a:t>
            </a:r>
            <a:endParaRPr kumimoji="0" lang="en-US" sz="2400" b="1" i="0" u="none" strike="noStrike" kern="1200" cap="none" spc="0" normalizeH="0" baseline="0" noProof="0" dirty="0">
              <a:ln>
                <a:noFill/>
              </a:ln>
              <a:solidFill>
                <a:schemeClr val="tx1"/>
              </a:solidFill>
              <a:effectLst/>
              <a:uLnTx/>
              <a:uFillTx/>
              <a:latin typeface="Calibri"/>
              <a:ea typeface="+mn-ea"/>
              <a:cs typeface="+mn-cs"/>
            </a:endParaRPr>
          </a:p>
        </p:txBody>
      </p:sp>
      <p:sp>
        <p:nvSpPr>
          <p:cNvPr id="5" name="Google Shape;174;p17">
            <a:extLst>
              <a:ext uri="{FF2B5EF4-FFF2-40B4-BE49-F238E27FC236}">
                <a16:creationId xmlns:a16="http://schemas.microsoft.com/office/drawing/2014/main" id="{C88249ED-E014-429A-9888-DDF16DFCEC2C}"/>
              </a:ext>
            </a:extLst>
          </p:cNvPr>
          <p:cNvSpPr txBox="1"/>
          <p:nvPr/>
        </p:nvSpPr>
        <p:spPr>
          <a:xfrm>
            <a:off x="1211589" y="2572417"/>
            <a:ext cx="4200239" cy="1524829"/>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Pascale has been in a new office space for 3 months. In theory the area is unassigned,  but her manager wants them to all sit in the same area every day they are in, and their Director General has allowed them to put up signs to designate this as their “neighbourhood”. She has one colleague that is particualrly noisy, and Pascal often finds it difficult to concentrate. She misses her cubicle walls.</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7" name="Google Shape;174;p17">
            <a:extLst>
              <a:ext uri="{FF2B5EF4-FFF2-40B4-BE49-F238E27FC236}">
                <a16:creationId xmlns:a16="http://schemas.microsoft.com/office/drawing/2014/main" id="{81E7E491-8315-FEE2-966F-E34C46249785}"/>
              </a:ext>
            </a:extLst>
          </p:cNvPr>
          <p:cNvSpPr txBox="1"/>
          <p:nvPr/>
        </p:nvSpPr>
        <p:spPr>
          <a:xfrm>
            <a:off x="6780174" y="2572417"/>
            <a:ext cx="4030970" cy="2421878"/>
          </a:xfrm>
          <a:prstGeom prst="rect">
            <a:avLst/>
          </a:prstGeom>
          <a:noFill/>
          <a:ln>
            <a:noFill/>
          </a:ln>
        </p:spPr>
        <p:txBody>
          <a:bodyPr spcFirstLastPara="1" wrap="square" lIns="121900" tIns="121900" rIns="121900" bIns="121900" anchor="t" anchorCtr="0">
            <a:noAutofit/>
          </a:bodyPr>
          <a:lstStyle/>
          <a:p>
            <a:r>
              <a:rPr lang="en" sz="1600" dirty="0">
                <a:latin typeface="Calibri" panose="020F0502020204030204" pitchFamily="34" charset="0"/>
                <a:ea typeface="Calibri" panose="020F0502020204030204" pitchFamily="34" charset="0"/>
                <a:cs typeface="Calibri" panose="020F0502020204030204" pitchFamily="34" charset="0"/>
                <a:sym typeface="Roboto"/>
              </a:rPr>
              <a:t>Pascale’s office space functions as being truly unassigned. Often her and her colleagues find spots together, but she also appreciates having occassional access to quieter areas for concentration. </a:t>
            </a:r>
            <a:endParaRPr sz="1600" dirty="0">
              <a:latin typeface="Calibri" panose="020F0502020204030204" pitchFamily="34" charset="0"/>
              <a:ea typeface="Calibri" panose="020F0502020204030204" pitchFamily="34" charset="0"/>
              <a:cs typeface="Calibri" panose="020F0502020204030204" pitchFamily="34" charset="0"/>
              <a:sym typeface="Roboto"/>
            </a:endParaRPr>
          </a:p>
        </p:txBody>
      </p:sp>
      <p:sp>
        <p:nvSpPr>
          <p:cNvPr id="11" name="Arrow: Chevron 10">
            <a:extLst>
              <a:ext uri="{FF2B5EF4-FFF2-40B4-BE49-F238E27FC236}">
                <a16:creationId xmlns:a16="http://schemas.microsoft.com/office/drawing/2014/main" id="{049E70DB-C213-D66B-438D-66BF5CEE21D2}"/>
              </a:ext>
              <a:ext uri="{C183D7F6-B498-43B3-948B-1728B52AA6E4}">
                <adec:decorative xmlns:adec="http://schemas.microsoft.com/office/drawing/2017/decorative" val="1"/>
              </a:ext>
            </a:extLst>
          </p:cNvPr>
          <p:cNvSpPr/>
          <p:nvPr/>
        </p:nvSpPr>
        <p:spPr>
          <a:xfrm>
            <a:off x="6801152" y="1399837"/>
            <a:ext cx="3737810"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Engaged change leadership</a:t>
            </a:r>
          </a:p>
        </p:txBody>
      </p:sp>
      <p:sp>
        <p:nvSpPr>
          <p:cNvPr id="12" name="Arrow: Chevron 11">
            <a:extLst>
              <a:ext uri="{FF2B5EF4-FFF2-40B4-BE49-F238E27FC236}">
                <a16:creationId xmlns:a16="http://schemas.microsoft.com/office/drawing/2014/main" id="{0F5ECF11-A21D-4775-A59F-D59DD1CA156A}"/>
              </a:ext>
              <a:ext uri="{C183D7F6-B498-43B3-948B-1728B52AA6E4}">
                <adec:decorative xmlns:adec="http://schemas.microsoft.com/office/drawing/2017/decorative" val="1"/>
              </a:ext>
            </a:extLst>
          </p:cNvPr>
          <p:cNvSpPr/>
          <p:nvPr/>
        </p:nvSpPr>
        <p:spPr>
          <a:xfrm flipH="1">
            <a:off x="1315614" y="1399837"/>
            <a:ext cx="3822443" cy="943476"/>
          </a:xfrm>
          <a:prstGeom prst="chevron">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CA" dirty="0">
                <a:solidFill>
                  <a:schemeClr val="tx1"/>
                </a:solidFill>
              </a:rPr>
              <a:t>Leadership not engaged in the change</a:t>
            </a:r>
          </a:p>
        </p:txBody>
      </p:sp>
      <p:grpSp>
        <p:nvGrpSpPr>
          <p:cNvPr id="16" name="Group 15">
            <a:extLst>
              <a:ext uri="{FF2B5EF4-FFF2-40B4-BE49-F238E27FC236}">
                <a16:creationId xmlns:a16="http://schemas.microsoft.com/office/drawing/2014/main" id="{D49879BF-BD63-02D3-8780-7D6114D30F75}"/>
              </a:ext>
              <a:ext uri="{C183D7F6-B498-43B3-948B-1728B52AA6E4}">
                <adec:decorative xmlns:adec="http://schemas.microsoft.com/office/drawing/2017/decorative" val="1"/>
              </a:ext>
            </a:extLst>
          </p:cNvPr>
          <p:cNvGrpSpPr/>
          <p:nvPr/>
        </p:nvGrpSpPr>
        <p:grpSpPr>
          <a:xfrm>
            <a:off x="5476138" y="1419187"/>
            <a:ext cx="904773" cy="904773"/>
            <a:chOff x="1898923" y="6065107"/>
            <a:chExt cx="904773" cy="904773"/>
          </a:xfrm>
        </p:grpSpPr>
        <p:sp>
          <p:nvSpPr>
            <p:cNvPr id="17" name="Oval 16">
              <a:extLst>
                <a:ext uri="{FF2B5EF4-FFF2-40B4-BE49-F238E27FC236}">
                  <a16:creationId xmlns:a16="http://schemas.microsoft.com/office/drawing/2014/main" id="{158F3CEE-3980-5263-B737-7CC06C369D54}"/>
                </a:ext>
                <a:ext uri="{C183D7F6-B498-43B3-948B-1728B52AA6E4}">
                  <adec:decorative xmlns:adec="http://schemas.microsoft.com/office/drawing/2017/decorative" val="1"/>
                </a:ext>
              </a:extLst>
            </p:cNvPr>
            <p:cNvSpPr/>
            <p:nvPr/>
          </p:nvSpPr>
          <p:spPr>
            <a:xfrm>
              <a:off x="1898923" y="6065107"/>
              <a:ext cx="904773" cy="904773"/>
            </a:xfrm>
            <a:prstGeom prst="ellipse">
              <a:avLst/>
            </a:prstGeom>
            <a:solidFill>
              <a:srgbClr val="17455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8" name="Graphic 17" descr="User with solid fill">
              <a:extLst>
                <a:ext uri="{FF2B5EF4-FFF2-40B4-BE49-F238E27FC236}">
                  <a16:creationId xmlns:a16="http://schemas.microsoft.com/office/drawing/2014/main" id="{4570B7FD-ECDD-5F4D-D33C-839BEAE7C4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98189" y="6164373"/>
              <a:ext cx="706240" cy="706240"/>
            </a:xfrm>
            <a:prstGeom prst="rect">
              <a:avLst/>
            </a:prstGeom>
          </p:spPr>
        </p:pic>
      </p:grpSp>
    </p:spTree>
    <p:extLst>
      <p:ext uri="{BB962C8B-B14F-4D97-AF65-F5344CB8AC3E}">
        <p14:creationId xmlns:p14="http://schemas.microsoft.com/office/powerpoint/2010/main" val="5027854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Overview</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139321"/>
          </a:xfrm>
          <a:prstGeom prst="rect">
            <a:avLst/>
          </a:prstGeom>
          <a:noFill/>
        </p:spPr>
        <p:txBody>
          <a:bodyPr wrap="square" rtlCol="0">
            <a:spAutoFit/>
          </a:bodyPr>
          <a:lstStyle/>
          <a:p>
            <a:r>
              <a:rPr lang="en-CA" sz="1800" b="1" kern="100" dirty="0">
                <a:effectLst/>
                <a:latin typeface="Calibri" panose="020F0502020204030204" pitchFamily="34" charset="0"/>
                <a:ea typeface="Calibri" panose="020F0502020204030204" pitchFamily="34" charset="0"/>
                <a:cs typeface="Times New Roman" panose="02020603050405020304" pitchFamily="18" charset="0"/>
              </a:rPr>
              <a:t>Context</a:t>
            </a: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hat is the Government Office portfolio optimization plan</a:t>
            </a:r>
          </a:p>
          <a:p>
            <a:r>
              <a:rPr lang="en-CA" kern="100" dirty="0">
                <a:latin typeface="Calibri" panose="020F0502020204030204" pitchFamily="34" charset="0"/>
                <a:ea typeface="Calibri" panose="020F0502020204030204" pitchFamily="34" charset="0"/>
                <a:cs typeface="Times New Roman" panose="02020603050405020304" pitchFamily="18" charset="0"/>
              </a:rPr>
              <a:t>What does it mean for our organization</a:t>
            </a:r>
          </a:p>
          <a:p>
            <a:r>
              <a:rPr lang="en-CA" kern="100" dirty="0">
                <a:latin typeface="Calibri" panose="020F0502020204030204" pitchFamily="34" charset="0"/>
                <a:ea typeface="Calibri" panose="020F0502020204030204" pitchFamily="34" charset="0"/>
                <a:cs typeface="Times New Roman" panose="02020603050405020304" pitchFamily="18" charset="0"/>
              </a:rPr>
              <a:t>Timeline</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b="1" kern="100" dirty="0">
                <a:latin typeface="Calibri" panose="020F0502020204030204" pitchFamily="34" charset="0"/>
                <a:ea typeface="Calibri" panose="020F0502020204030204" pitchFamily="34" charset="0"/>
                <a:cs typeface="Times New Roman" panose="02020603050405020304" pitchFamily="18" charset="0"/>
              </a:rPr>
              <a:t>Navigating the optimization with a change management perspective</a:t>
            </a:r>
          </a:p>
          <a:p>
            <a:r>
              <a:rPr lang="en-CA" kern="100" dirty="0">
                <a:latin typeface="Calibri" panose="020F0502020204030204" pitchFamily="34" charset="0"/>
                <a:ea typeface="Calibri" panose="020F0502020204030204" pitchFamily="34" charset="0"/>
                <a:cs typeface="Times New Roman" panose="02020603050405020304" pitchFamily="18" charset="0"/>
              </a:rPr>
              <a:t>My role as sponsor</a:t>
            </a:r>
          </a:p>
          <a:p>
            <a:r>
              <a:rPr lang="en-CA" kern="100" dirty="0">
                <a:latin typeface="Calibri" panose="020F0502020204030204" pitchFamily="34" charset="0"/>
                <a:ea typeface="Calibri" panose="020F0502020204030204" pitchFamily="34" charset="0"/>
                <a:cs typeface="Times New Roman" panose="02020603050405020304" pitchFamily="18" charset="0"/>
              </a:rPr>
              <a:t>Your role as leaders</a:t>
            </a:r>
          </a:p>
          <a:p>
            <a:r>
              <a:rPr lang="en-CA" kern="100" dirty="0">
                <a:latin typeface="Calibri" panose="020F0502020204030204" pitchFamily="34" charset="0"/>
                <a:ea typeface="Calibri" panose="020F0502020204030204" pitchFamily="34" charset="0"/>
                <a:cs typeface="Times New Roman" panose="02020603050405020304" pitchFamily="18" charset="0"/>
              </a:rPr>
              <a:t>Reactions to change</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sz="1800" kern="100" dirty="0">
                <a:effectLst/>
                <a:latin typeface="Calibri" panose="020F0502020204030204" pitchFamily="34" charset="0"/>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008670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F95B0C-A822-FC5E-C664-E6B1A5DC7F01}"/>
              </a:ext>
            </a:extLst>
          </p:cNvPr>
          <p:cNvSpPr>
            <a:spLocks noGrp="1"/>
          </p:cNvSpPr>
          <p:nvPr>
            <p:ph type="title"/>
          </p:nvPr>
        </p:nvSpPr>
        <p:spPr>
          <a:xfrm>
            <a:off x="436489" y="2850262"/>
            <a:ext cx="11115674" cy="939581"/>
          </a:xfrm>
        </p:spPr>
        <p:txBody>
          <a:bodyPr/>
          <a:lstStyle/>
          <a:p>
            <a:r>
              <a:rPr lang="fr-CA" dirty="0" err="1"/>
              <a:t>Context</a:t>
            </a:r>
            <a:endParaRPr lang="en-CA" dirty="0"/>
          </a:p>
        </p:txBody>
      </p:sp>
    </p:spTree>
    <p:extLst>
      <p:ext uri="{BB962C8B-B14F-4D97-AF65-F5344CB8AC3E}">
        <p14:creationId xmlns:p14="http://schemas.microsoft.com/office/powerpoint/2010/main" val="492946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AFBF6-A3FE-12ED-8681-E058ECB7745D}"/>
              </a:ext>
            </a:extLst>
          </p:cNvPr>
          <p:cNvSpPr>
            <a:spLocks noGrp="1"/>
          </p:cNvSpPr>
          <p:nvPr>
            <p:ph type="title"/>
          </p:nvPr>
        </p:nvSpPr>
        <p:spPr/>
        <p:txBody>
          <a:bodyPr/>
          <a:lstStyle/>
          <a:p>
            <a:r>
              <a:rPr lang="en-CA" dirty="0"/>
              <a:t>The Government of Canada’s Office Space Portfolio</a:t>
            </a:r>
          </a:p>
        </p:txBody>
      </p:sp>
      <p:sp>
        <p:nvSpPr>
          <p:cNvPr id="3" name="TextBox 2">
            <a:extLst>
              <a:ext uri="{FF2B5EF4-FFF2-40B4-BE49-F238E27FC236}">
                <a16:creationId xmlns:a16="http://schemas.microsoft.com/office/drawing/2014/main" id="{CC8B02F3-0C27-03C9-5D56-EC07236B6660}"/>
              </a:ext>
            </a:extLst>
          </p:cNvPr>
          <p:cNvSpPr txBox="1"/>
          <p:nvPr/>
        </p:nvSpPr>
        <p:spPr>
          <a:xfrm>
            <a:off x="508758" y="1713900"/>
            <a:ext cx="11006345" cy="3416320"/>
          </a:xfrm>
          <a:prstGeom prst="rect">
            <a:avLst/>
          </a:prstGeom>
          <a:noFill/>
        </p:spPr>
        <p:txBody>
          <a:bodyPr wrap="square" rtlCol="0">
            <a:spAutoFit/>
          </a:bodyPr>
          <a:lstStyle/>
          <a:p>
            <a:r>
              <a:rPr lang="en-CA" kern="100" dirty="0">
                <a:latin typeface="Calibri" panose="020F0502020204030204" pitchFamily="34" charset="0"/>
                <a:ea typeface="Calibri" panose="020F0502020204030204" pitchFamily="34" charset="0"/>
                <a:cs typeface="Times New Roman" panose="02020603050405020304" pitchFamily="18" charset="0"/>
              </a:rPr>
              <a:t>In Budget 2024, the Government of Canada outlined its plan of converting underused federal offices into homes. This plan consists in part of reducing its office space portfolio by 50% over ten years. This optimization of the government’s office portfolio will consist of divesting of underused and vacant space. In addition to being a response to the government’s </a:t>
            </a:r>
            <a:r>
              <a:rPr lang="en-CA" kern="100" dirty="0">
                <a:latin typeface="Calibri" panose="020F0502020204030204" pitchFamily="34" charset="0"/>
                <a:ea typeface="Calibri" panose="020F0502020204030204" pitchFamily="34" charset="0"/>
                <a:cs typeface="Times New Roman" panose="02020603050405020304" pitchFamily="18" charset="0"/>
                <a:hlinkClick r:id="rId2"/>
              </a:rPr>
              <a:t>common hybrid work model</a:t>
            </a:r>
            <a:r>
              <a:rPr lang="en-CA" kern="100" dirty="0">
                <a:latin typeface="Calibri" panose="020F0502020204030204" pitchFamily="34" charset="0"/>
                <a:ea typeface="Calibri" panose="020F0502020204030204" pitchFamily="34" charset="0"/>
                <a:cs typeface="Times New Roman" panose="02020603050405020304" pitchFamily="18" charset="0"/>
              </a:rPr>
              <a:t>, this plan also requires to apply implement unassigned seating in office space by default, which means that</a:t>
            </a:r>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Workstations will be unassigned</a:t>
            </a:r>
          </a:p>
          <a:p>
            <a:pPr marL="285750" indent="-285750">
              <a:buFont typeface="Arial" panose="020B0604020202020204" pitchFamily="34" charset="0"/>
              <a:buChar char="•"/>
            </a:pP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Closed offices will be focus rooms or meeting rooms, accessible to all</a:t>
            </a:r>
          </a:p>
          <a:p>
            <a:endParaRPr lang="en-CA" kern="100" dirty="0">
              <a:latin typeface="Calibri" panose="020F0502020204030204" pitchFamily="34" charset="0"/>
              <a:ea typeface="Calibri" panose="020F0502020204030204" pitchFamily="34" charset="0"/>
              <a:cs typeface="Times New Roman" panose="02020603050405020304" pitchFamily="18" charset="0"/>
            </a:endParaRPr>
          </a:p>
          <a:p>
            <a:r>
              <a:rPr lang="en-CA" kern="100" dirty="0">
                <a:latin typeface="Calibri" panose="020F0502020204030204" pitchFamily="34" charset="0"/>
                <a:ea typeface="Calibri" panose="020F0502020204030204" pitchFamily="34" charset="0"/>
                <a:cs typeface="Times New Roman" panose="02020603050405020304" pitchFamily="18" charset="0"/>
              </a:rPr>
              <a:t>While every organization and every group is going to be impacted differently by this policy, it is important to recognize that these policies could constitute a major change for our people. It is important to reflect on </a:t>
            </a:r>
            <a:r>
              <a:rPr lang="en-CA" sz="1800" kern="100" dirty="0">
                <a:effectLst/>
                <a:latin typeface="Calibri" panose="020F0502020204030204" pitchFamily="34" charset="0"/>
                <a:ea typeface="Calibri" panose="020F0502020204030204" pitchFamily="34" charset="0"/>
                <a:cs typeface="Times New Roman" panose="02020603050405020304" pitchFamily="18" charset="0"/>
              </a:rPr>
              <a:t>your role as a leader in your organization in navigating this change. </a:t>
            </a:r>
          </a:p>
          <a:p>
            <a:endParaRPr lang="en-CA"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251831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828F65A-808D-02D2-738B-A7C5CC9FA5CA}"/>
              </a:ext>
            </a:extLst>
          </p:cNvPr>
          <p:cNvSpPr>
            <a:spLocks noGrp="1"/>
          </p:cNvSpPr>
          <p:nvPr>
            <p:ph type="title"/>
          </p:nvPr>
        </p:nvSpPr>
        <p:spPr/>
        <p:txBody>
          <a:bodyPr>
            <a:normAutofit fontScale="90000"/>
          </a:bodyPr>
          <a:lstStyle/>
          <a:p>
            <a:r>
              <a:rPr lang="en-CA" dirty="0"/>
              <a:t>Unassigned Office Space Seating by Default: The Impact on the Government of Canada’s Office Portfolio </a:t>
            </a:r>
          </a:p>
        </p:txBody>
      </p:sp>
      <p:grpSp>
        <p:nvGrpSpPr>
          <p:cNvPr id="3"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EAFCA7DA-B3A3-40D1-F2DD-88BF94C0FDEE}"/>
              </a:ext>
            </a:extLst>
          </p:cNvPr>
          <p:cNvGrpSpPr/>
          <p:nvPr/>
        </p:nvGrpSpPr>
        <p:grpSpPr>
          <a:xfrm>
            <a:off x="700108" y="2036711"/>
            <a:ext cx="4702573" cy="3873681"/>
            <a:chOff x="2306020" y="2168083"/>
            <a:chExt cx="4702573" cy="3873681"/>
          </a:xfrm>
        </p:grpSpPr>
        <p:sp>
          <p:nvSpPr>
            <p:cNvPr id="5" name="TextBox 45">
              <a:extLst>
                <a:ext uri="{FF2B5EF4-FFF2-40B4-BE49-F238E27FC236}">
                  <a16:creationId xmlns:a16="http://schemas.microsoft.com/office/drawing/2014/main" id="{022AD1F7-CC8C-3292-5DCC-261E346D205F}"/>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a:ln>
                    <a:noFill/>
                  </a:ln>
                  <a:solidFill>
                    <a:srgbClr val="000000"/>
                  </a:solidFill>
                  <a:effectLst/>
                  <a:uLnTx/>
                  <a:uFillTx/>
                  <a:latin typeface="Avenir Next LT Pro" panose="020B0504020202020204" pitchFamily="34" charset="0"/>
                </a:rPr>
                <a:t>Assigned Utilization</a:t>
              </a:r>
              <a:endParaRPr lang="en-CA" b="1" i="0" u="none" strike="noStrike" kern="1200" cap="none" spc="0" normalizeH="0" baseline="0">
                <a:ln>
                  <a:noFill/>
                </a:ln>
                <a:solidFill>
                  <a:srgbClr val="000000"/>
                </a:solidFill>
                <a:effectLst/>
                <a:uLnTx/>
                <a:uFillTx/>
                <a:latin typeface="Avenir Next LT Pro" panose="020B0504020202020204" pitchFamily="34" charset="0"/>
              </a:endParaRPr>
            </a:p>
          </p:txBody>
        </p:sp>
        <p:grpSp>
          <p:nvGrpSpPr>
            <p:cNvPr id="6" name="Google Shape;1309;p104">
              <a:extLst>
                <a:ext uri="{FF2B5EF4-FFF2-40B4-BE49-F238E27FC236}">
                  <a16:creationId xmlns:a16="http://schemas.microsoft.com/office/drawing/2014/main" id="{0DE56BB4-308D-A654-219C-A500E6723FB2}"/>
                </a:ext>
              </a:extLst>
            </p:cNvPr>
            <p:cNvGrpSpPr/>
            <p:nvPr/>
          </p:nvGrpSpPr>
          <p:grpSpPr>
            <a:xfrm>
              <a:off x="2306020" y="2600213"/>
              <a:ext cx="4702573" cy="3441551"/>
              <a:chOff x="7398006" y="2595759"/>
              <a:chExt cx="3264414" cy="2478923"/>
            </a:xfrm>
          </p:grpSpPr>
          <p:grpSp>
            <p:nvGrpSpPr>
              <p:cNvPr id="60" name="Google Shape;1310;p104">
                <a:extLst>
                  <a:ext uri="{FF2B5EF4-FFF2-40B4-BE49-F238E27FC236}">
                    <a16:creationId xmlns:a16="http://schemas.microsoft.com/office/drawing/2014/main" id="{82FE7FD9-8BD5-08EF-9E22-AFEFFCC4C5B5}"/>
                  </a:ext>
                </a:extLst>
              </p:cNvPr>
              <p:cNvGrpSpPr/>
              <p:nvPr/>
            </p:nvGrpSpPr>
            <p:grpSpPr>
              <a:xfrm>
                <a:off x="7398006" y="2595759"/>
                <a:ext cx="3264414" cy="2478923"/>
                <a:chOff x="7397719" y="2595653"/>
                <a:chExt cx="3817583" cy="2898986"/>
              </a:xfrm>
            </p:grpSpPr>
            <p:grpSp>
              <p:nvGrpSpPr>
                <p:cNvPr id="63" name="Google Shape;1311;p104">
                  <a:extLst>
                    <a:ext uri="{FF2B5EF4-FFF2-40B4-BE49-F238E27FC236}">
                      <a16:creationId xmlns:a16="http://schemas.microsoft.com/office/drawing/2014/main" id="{1F253533-8F61-A98F-A047-62E035D20E2F}"/>
                    </a:ext>
                  </a:extLst>
                </p:cNvPr>
                <p:cNvGrpSpPr/>
                <p:nvPr/>
              </p:nvGrpSpPr>
              <p:grpSpPr>
                <a:xfrm>
                  <a:off x="7397719" y="2595653"/>
                  <a:ext cx="3817583" cy="2898986"/>
                  <a:chOff x="3782853" y="2244933"/>
                  <a:chExt cx="4750010" cy="3607050"/>
                </a:xfrm>
              </p:grpSpPr>
              <p:sp>
                <p:nvSpPr>
                  <p:cNvPr id="69" name="Google Shape;1312;p104">
                    <a:extLst>
                      <a:ext uri="{FF2B5EF4-FFF2-40B4-BE49-F238E27FC236}">
                        <a16:creationId xmlns:a16="http://schemas.microsoft.com/office/drawing/2014/main" id="{CDB7C5CD-F4AC-8A66-5378-BF3E4CB2B2A8}"/>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0" name="Google Shape;1313;p104">
                    <a:extLst>
                      <a:ext uri="{FF2B5EF4-FFF2-40B4-BE49-F238E27FC236}">
                        <a16:creationId xmlns:a16="http://schemas.microsoft.com/office/drawing/2014/main" id="{0345FD51-2B7B-EF07-5887-2EBFDF34C71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1" name="Google Shape;1314;p104">
                    <a:extLst>
                      <a:ext uri="{FF2B5EF4-FFF2-40B4-BE49-F238E27FC236}">
                        <a16:creationId xmlns:a16="http://schemas.microsoft.com/office/drawing/2014/main" id="{C6BF1ADF-E135-B21B-74D8-9F28DBAAFD66}"/>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2" name="Google Shape;1315;p104">
                    <a:extLst>
                      <a:ext uri="{FF2B5EF4-FFF2-40B4-BE49-F238E27FC236}">
                        <a16:creationId xmlns:a16="http://schemas.microsoft.com/office/drawing/2014/main" id="{539BFB47-01E8-3E08-8FB1-2F7C72B27323}"/>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3" name="Google Shape;1316;p104">
                    <a:extLst>
                      <a:ext uri="{FF2B5EF4-FFF2-40B4-BE49-F238E27FC236}">
                        <a16:creationId xmlns:a16="http://schemas.microsoft.com/office/drawing/2014/main" id="{AC9D358B-D420-79BA-6D60-04D058CBF1FA}"/>
                      </a:ext>
                    </a:extLst>
                  </p:cNvPr>
                  <p:cNvSpPr/>
                  <p:nvPr/>
                </p:nvSpPr>
                <p:spPr>
                  <a:xfrm>
                    <a:off x="4716593"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4" name="Google Shape;1317;p104">
                    <a:extLst>
                      <a:ext uri="{FF2B5EF4-FFF2-40B4-BE49-F238E27FC236}">
                        <a16:creationId xmlns:a16="http://schemas.microsoft.com/office/drawing/2014/main" id="{1B335456-D634-A7D1-484E-B60B8D80EDC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5" name="Google Shape;1318;p104">
                    <a:extLst>
                      <a:ext uri="{FF2B5EF4-FFF2-40B4-BE49-F238E27FC236}">
                        <a16:creationId xmlns:a16="http://schemas.microsoft.com/office/drawing/2014/main" id="{21FEA7B0-C92C-4F85-D04E-D2A6ED4CADE4}"/>
                      </a:ext>
                    </a:extLst>
                  </p:cNvPr>
                  <p:cNvSpPr/>
                  <p:nvPr/>
                </p:nvSpPr>
                <p:spPr>
                  <a:xfrm>
                    <a:off x="5332125" y="2517271"/>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6" name="Google Shape;1304;p104">
                    <a:extLst>
                      <a:ext uri="{FF2B5EF4-FFF2-40B4-BE49-F238E27FC236}">
                        <a16:creationId xmlns:a16="http://schemas.microsoft.com/office/drawing/2014/main" id="{ABEE8544-1D26-9200-CDF0-D1350CA08421}"/>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7" name="Google Shape;1319;p104">
                    <a:extLst>
                      <a:ext uri="{FF2B5EF4-FFF2-40B4-BE49-F238E27FC236}">
                        <a16:creationId xmlns:a16="http://schemas.microsoft.com/office/drawing/2014/main" id="{E44F8EE3-ED60-217F-00DB-6DEA5587984D}"/>
                      </a:ext>
                    </a:extLst>
                  </p:cNvPr>
                  <p:cNvSpPr/>
                  <p:nvPr/>
                </p:nvSpPr>
                <p:spPr>
                  <a:xfrm>
                    <a:off x="4408827" y="2898722"/>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8" name="Google Shape;1320;p104">
                    <a:extLst>
                      <a:ext uri="{FF2B5EF4-FFF2-40B4-BE49-F238E27FC236}">
                        <a16:creationId xmlns:a16="http://schemas.microsoft.com/office/drawing/2014/main" id="{721FD5B1-B8E8-81F5-1A1C-B73F2499E044}"/>
                      </a:ext>
                    </a:extLst>
                  </p:cNvPr>
                  <p:cNvSpPr/>
                  <p:nvPr/>
                </p:nvSpPr>
                <p:spPr>
                  <a:xfrm>
                    <a:off x="4716593" y="2898722"/>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79" name="Google Shape;1321;p104">
                    <a:extLst>
                      <a:ext uri="{FF2B5EF4-FFF2-40B4-BE49-F238E27FC236}">
                        <a16:creationId xmlns:a16="http://schemas.microsoft.com/office/drawing/2014/main" id="{59CB107C-EFA5-0571-874A-71E040057DA9}"/>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0" name="Google Shape;1322;p104">
                    <a:extLst>
                      <a:ext uri="{FF2B5EF4-FFF2-40B4-BE49-F238E27FC236}">
                        <a16:creationId xmlns:a16="http://schemas.microsoft.com/office/drawing/2014/main" id="{3628AC16-36E1-9F26-FCE2-3D4ACC068FED}"/>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1" name="Google Shape;1297;p104">
                    <a:extLst>
                      <a:ext uri="{FF2B5EF4-FFF2-40B4-BE49-F238E27FC236}">
                        <a16:creationId xmlns:a16="http://schemas.microsoft.com/office/drawing/2014/main" id="{55B8F6F9-30B5-38AD-5C41-FF97AE574FB1}"/>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2" name="Google Shape;1323;p104">
                    <a:extLst>
                      <a:ext uri="{FF2B5EF4-FFF2-40B4-BE49-F238E27FC236}">
                        <a16:creationId xmlns:a16="http://schemas.microsoft.com/office/drawing/2014/main" id="{04074352-6561-469C-9CA8-58B3994C0B48}"/>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3" name="Google Shape;1324;p104">
                    <a:extLst>
                      <a:ext uri="{FF2B5EF4-FFF2-40B4-BE49-F238E27FC236}">
                        <a16:creationId xmlns:a16="http://schemas.microsoft.com/office/drawing/2014/main" id="{1FF1D28E-71DB-BB24-D0F9-B7127B862037}"/>
                      </a:ext>
                    </a:extLst>
                  </p:cNvPr>
                  <p:cNvSpPr/>
                  <p:nvPr/>
                </p:nvSpPr>
                <p:spPr>
                  <a:xfrm>
                    <a:off x="4719954" y="327238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4" name="Google Shape;1325;p104">
                    <a:extLst>
                      <a:ext uri="{FF2B5EF4-FFF2-40B4-BE49-F238E27FC236}">
                        <a16:creationId xmlns:a16="http://schemas.microsoft.com/office/drawing/2014/main" id="{4A95BE5C-9695-5A49-5F7B-42E0D306B511}"/>
                      </a:ext>
                    </a:extLst>
                  </p:cNvPr>
                  <p:cNvSpPr/>
                  <p:nvPr/>
                </p:nvSpPr>
                <p:spPr>
                  <a:xfrm>
                    <a:off x="5027720" y="3272388"/>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5" name="Google Shape;1326;p104">
                    <a:extLst>
                      <a:ext uri="{FF2B5EF4-FFF2-40B4-BE49-F238E27FC236}">
                        <a16:creationId xmlns:a16="http://schemas.microsoft.com/office/drawing/2014/main" id="{C71A26AD-7EF2-1E88-3459-C38894A489EA}"/>
                      </a:ext>
                    </a:extLst>
                  </p:cNvPr>
                  <p:cNvSpPr/>
                  <p:nvPr/>
                </p:nvSpPr>
                <p:spPr>
                  <a:xfrm>
                    <a:off x="5335486" y="327238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6" name="Google Shape;1327;p104">
                    <a:extLst>
                      <a:ext uri="{FF2B5EF4-FFF2-40B4-BE49-F238E27FC236}">
                        <a16:creationId xmlns:a16="http://schemas.microsoft.com/office/drawing/2014/main" id="{E2DC76E6-D970-DFF5-B90F-B7A37D44948C}"/>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7" name="Google Shape;1328;p104">
                    <a:extLst>
                      <a:ext uri="{FF2B5EF4-FFF2-40B4-BE49-F238E27FC236}">
                        <a16:creationId xmlns:a16="http://schemas.microsoft.com/office/drawing/2014/main" id="{F30F4DAF-7030-3561-F330-42BCA5B33E01}"/>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88" name="Google Shape;1329;p104">
                    <a:extLst>
                      <a:ext uri="{FF2B5EF4-FFF2-40B4-BE49-F238E27FC236}">
                        <a16:creationId xmlns:a16="http://schemas.microsoft.com/office/drawing/2014/main" id="{3C579C58-B8F2-9B89-39A4-CE396AD876FA}"/>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89" name="Google Shape;1330;p104">
                    <a:extLst>
                      <a:ext uri="{FF2B5EF4-FFF2-40B4-BE49-F238E27FC236}">
                        <a16:creationId xmlns:a16="http://schemas.microsoft.com/office/drawing/2014/main" id="{77BAA2A7-9892-D252-FEB0-4274F4B26BFB}"/>
                      </a:ext>
                    </a:extLst>
                  </p:cNvPr>
                  <p:cNvSpPr/>
                  <p:nvPr/>
                </p:nvSpPr>
                <p:spPr>
                  <a:xfrm>
                    <a:off x="5036914" y="365384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0" name="Google Shape;1331;p104">
                    <a:extLst>
                      <a:ext uri="{FF2B5EF4-FFF2-40B4-BE49-F238E27FC236}">
                        <a16:creationId xmlns:a16="http://schemas.microsoft.com/office/drawing/2014/main" id="{20801CB3-FA6C-754B-C6C6-26EDFB7EF772}"/>
                      </a:ext>
                    </a:extLst>
                  </p:cNvPr>
                  <p:cNvSpPr/>
                  <p:nvPr/>
                </p:nvSpPr>
                <p:spPr>
                  <a:xfrm>
                    <a:off x="5344680" y="3653840"/>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1" name="Google Shape;1332;p104">
                    <a:extLst>
                      <a:ext uri="{FF2B5EF4-FFF2-40B4-BE49-F238E27FC236}">
                        <a16:creationId xmlns:a16="http://schemas.microsoft.com/office/drawing/2014/main" id="{0200689D-EE6B-6145-A12C-BE279410E9F1}"/>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2" name="Google Shape;1333;p104">
                    <a:extLst>
                      <a:ext uri="{FF2B5EF4-FFF2-40B4-BE49-F238E27FC236}">
                        <a16:creationId xmlns:a16="http://schemas.microsoft.com/office/drawing/2014/main" id="{2B387E84-5579-4099-4E6C-397361752321}"/>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3" name="Google Shape;1334;p104">
                    <a:extLst>
                      <a:ext uri="{FF2B5EF4-FFF2-40B4-BE49-F238E27FC236}">
                        <a16:creationId xmlns:a16="http://schemas.microsoft.com/office/drawing/2014/main" id="{9A0275B6-C321-7E11-4AF0-0FFBB26A3840}"/>
                      </a:ext>
                    </a:extLst>
                  </p:cNvPr>
                  <p:cNvSpPr/>
                  <p:nvPr/>
                </p:nvSpPr>
                <p:spPr>
                  <a:xfrm>
                    <a:off x="4734085" y="4032129"/>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4" name="Google Shape;1335;p104">
                    <a:extLst>
                      <a:ext uri="{FF2B5EF4-FFF2-40B4-BE49-F238E27FC236}">
                        <a16:creationId xmlns:a16="http://schemas.microsoft.com/office/drawing/2014/main" id="{816E36D8-4D0D-276D-9D29-0E1CF4EA29AF}"/>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5" name="Google Shape;1336;p104">
                    <a:extLst>
                      <a:ext uri="{FF2B5EF4-FFF2-40B4-BE49-F238E27FC236}">
                        <a16:creationId xmlns:a16="http://schemas.microsoft.com/office/drawing/2014/main" id="{B406834C-98FA-B5CC-19A2-C0A6B60B4A99}"/>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6" name="Google Shape;1337;p104">
                    <a:extLst>
                      <a:ext uri="{FF2B5EF4-FFF2-40B4-BE49-F238E27FC236}">
                        <a16:creationId xmlns:a16="http://schemas.microsoft.com/office/drawing/2014/main" id="{D23CECA9-93C2-90B1-7592-4A25ED3A0C27}"/>
                      </a:ext>
                    </a:extLst>
                  </p:cNvPr>
                  <p:cNvSpPr/>
                  <p:nvPr/>
                </p:nvSpPr>
                <p:spPr>
                  <a:xfrm>
                    <a:off x="5657383" y="4032129"/>
                    <a:ext cx="216900" cy="216900"/>
                  </a:xfrm>
                  <a:prstGeom prst="roundRect">
                    <a:avLst>
                      <a:gd name="adj" fmla="val 16667"/>
                    </a:avLst>
                  </a:prstGeom>
                  <a:solidFill>
                    <a:schemeClr val="bg2">
                      <a:lumMod val="7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7" name="Google Shape;1338;p104">
                    <a:extLst>
                      <a:ext uri="{FF2B5EF4-FFF2-40B4-BE49-F238E27FC236}">
                        <a16:creationId xmlns:a16="http://schemas.microsoft.com/office/drawing/2014/main" id="{D72090B6-A1EC-D213-3FC8-3B15E5F8EE7B}"/>
                      </a:ext>
                    </a:extLst>
                  </p:cNvPr>
                  <p:cNvSpPr/>
                  <p:nvPr/>
                </p:nvSpPr>
                <p:spPr>
                  <a:xfrm>
                    <a:off x="4421382" y="4406686"/>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98" name="Google Shape;1339;p104">
                    <a:extLst>
                      <a:ext uri="{FF2B5EF4-FFF2-40B4-BE49-F238E27FC236}">
                        <a16:creationId xmlns:a16="http://schemas.microsoft.com/office/drawing/2014/main" id="{ADAB80AC-6DD5-8EE6-B759-3EA42BF3ACFD}"/>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99" name="Google Shape;1340;p104">
                    <a:extLst>
                      <a:ext uri="{FF2B5EF4-FFF2-40B4-BE49-F238E27FC236}">
                        <a16:creationId xmlns:a16="http://schemas.microsoft.com/office/drawing/2014/main" id="{389D62A2-FE11-DD73-317F-43A87E51B559}"/>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0" name="Google Shape;1341;p104">
                    <a:extLst>
                      <a:ext uri="{FF2B5EF4-FFF2-40B4-BE49-F238E27FC236}">
                        <a16:creationId xmlns:a16="http://schemas.microsoft.com/office/drawing/2014/main" id="{D91AB6BE-C04A-6C05-113A-8ADF629FDD96}"/>
                      </a:ext>
                    </a:extLst>
                  </p:cNvPr>
                  <p:cNvSpPr/>
                  <p:nvPr/>
                </p:nvSpPr>
                <p:spPr>
                  <a:xfrm>
                    <a:off x="5344681"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1" name="Google Shape;1342;p104">
                    <a:extLst>
                      <a:ext uri="{FF2B5EF4-FFF2-40B4-BE49-F238E27FC236}">
                        <a16:creationId xmlns:a16="http://schemas.microsoft.com/office/drawing/2014/main" id="{D19B3D59-CE70-9AAF-5F4D-AD2B21591581}"/>
                      </a:ext>
                    </a:extLst>
                  </p:cNvPr>
                  <p:cNvSpPr/>
                  <p:nvPr/>
                </p:nvSpPr>
                <p:spPr>
                  <a:xfrm>
                    <a:off x="5652447" y="4406687"/>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2" name="Google Shape;1343;p104">
                    <a:extLst>
                      <a:ext uri="{FF2B5EF4-FFF2-40B4-BE49-F238E27FC236}">
                        <a16:creationId xmlns:a16="http://schemas.microsoft.com/office/drawing/2014/main" id="{5F15206B-AF40-C0D7-43C0-FCBF2BE3D662}"/>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3" name="Google Shape;1344;p104">
                    <a:extLst>
                      <a:ext uri="{FF2B5EF4-FFF2-40B4-BE49-F238E27FC236}">
                        <a16:creationId xmlns:a16="http://schemas.microsoft.com/office/drawing/2014/main" id="{73BCBDA4-3439-52CC-0AC5-E9A1BA5136E5}"/>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4" name="Google Shape;1345;p104">
                    <a:extLst>
                      <a:ext uri="{FF2B5EF4-FFF2-40B4-BE49-F238E27FC236}">
                        <a16:creationId xmlns:a16="http://schemas.microsoft.com/office/drawing/2014/main" id="{3F9EB8F3-DA5A-AF9B-C644-37D3658500E5}"/>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5" name="Google Shape;1346;p104">
                    <a:extLst>
                      <a:ext uri="{FF2B5EF4-FFF2-40B4-BE49-F238E27FC236}">
                        <a16:creationId xmlns:a16="http://schemas.microsoft.com/office/drawing/2014/main" id="{8BF6627A-8472-6A0E-56EB-E1B3F5F10BD3}"/>
                      </a:ext>
                    </a:extLst>
                  </p:cNvPr>
                  <p:cNvSpPr/>
                  <p:nvPr/>
                </p:nvSpPr>
                <p:spPr>
                  <a:xfrm>
                    <a:off x="5345927" y="4768323"/>
                    <a:ext cx="216900" cy="216900"/>
                  </a:xfrm>
                  <a:prstGeom prst="roundRect">
                    <a:avLst>
                      <a:gd name="adj" fmla="val 16667"/>
                    </a:avLst>
                  </a:prstGeom>
                  <a:solidFill>
                    <a:schemeClr val="tx2">
                      <a:lumMod val="60000"/>
                      <a:lumOff val="4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6" name="Google Shape;1347;p104">
                    <a:extLst>
                      <a:ext uri="{FF2B5EF4-FFF2-40B4-BE49-F238E27FC236}">
                        <a16:creationId xmlns:a16="http://schemas.microsoft.com/office/drawing/2014/main" id="{5DD57F77-E0AF-D320-4623-3869B46E970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107" name="Google Shape;1348;p104">
                    <a:extLst>
                      <a:ext uri="{FF2B5EF4-FFF2-40B4-BE49-F238E27FC236}">
                        <a16:creationId xmlns:a16="http://schemas.microsoft.com/office/drawing/2014/main" id="{DDCD925C-ECC0-F97C-9306-C165B8EA96D1}"/>
                      </a:ext>
                    </a:extLst>
                  </p:cNvPr>
                  <p:cNvSpPr/>
                  <p:nvPr/>
                </p:nvSpPr>
                <p:spPr>
                  <a:xfrm>
                    <a:off x="4417692" y="5142881"/>
                    <a:ext cx="429000" cy="216900"/>
                  </a:xfrm>
                  <a:prstGeom prst="roundRect">
                    <a:avLst>
                      <a:gd name="adj" fmla="val 16667"/>
                    </a:avLst>
                  </a:prstGeom>
                  <a:solidFill>
                    <a:srgbClr val="ADAFB1"/>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8" name="Google Shape;1349;p104">
                    <a:extLst>
                      <a:ext uri="{FF2B5EF4-FFF2-40B4-BE49-F238E27FC236}">
                        <a16:creationId xmlns:a16="http://schemas.microsoft.com/office/drawing/2014/main" id="{0E77B50D-F610-6699-DC7D-37A5BDDBAE68}"/>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109" name="Google Shape;1350;p104">
                    <a:extLst>
                      <a:ext uri="{FF2B5EF4-FFF2-40B4-BE49-F238E27FC236}">
                        <a16:creationId xmlns:a16="http://schemas.microsoft.com/office/drawing/2014/main" id="{8DC427F7-B6DC-88F8-B838-FFA6C60362CF}"/>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64" name="Google Shape;1351;p104">
                  <a:extLst>
                    <a:ext uri="{FF2B5EF4-FFF2-40B4-BE49-F238E27FC236}">
                      <a16:creationId xmlns:a16="http://schemas.microsoft.com/office/drawing/2014/main" id="{45855FC7-0B38-C3F8-AFE7-BDEDD1B91CF4}"/>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5" name="Google Shape;1352;p104">
                  <a:extLst>
                    <a:ext uri="{FF2B5EF4-FFF2-40B4-BE49-F238E27FC236}">
                      <a16:creationId xmlns:a16="http://schemas.microsoft.com/office/drawing/2014/main" id="{F1D04CFE-85CE-CB35-D9A6-4088A8212AC2}"/>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66" name="Google Shape;1353;p104">
                  <a:extLst>
                    <a:ext uri="{FF2B5EF4-FFF2-40B4-BE49-F238E27FC236}">
                      <a16:creationId xmlns:a16="http://schemas.microsoft.com/office/drawing/2014/main" id="{B5065F49-4327-3E58-27D6-B67BE6060D1F}"/>
                    </a:ext>
                  </a:extLst>
                </p:cNvPr>
                <p:cNvGrpSpPr/>
                <p:nvPr/>
              </p:nvGrpSpPr>
              <p:grpSpPr>
                <a:xfrm>
                  <a:off x="7402085" y="4400279"/>
                  <a:ext cx="306080" cy="1067964"/>
                  <a:chOff x="3146566" y="4705830"/>
                  <a:chExt cx="275700" cy="823920"/>
                </a:xfrm>
              </p:grpSpPr>
              <p:sp>
                <p:nvSpPr>
                  <p:cNvPr id="67" name="Google Shape;1354;p104">
                    <a:extLst>
                      <a:ext uri="{FF2B5EF4-FFF2-40B4-BE49-F238E27FC236}">
                        <a16:creationId xmlns:a16="http://schemas.microsoft.com/office/drawing/2014/main" id="{1321C3BD-88DD-C688-5910-FBAD83F66D2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68" name="Google Shape;1355;p104">
                    <a:extLst>
                      <a:ext uri="{FF2B5EF4-FFF2-40B4-BE49-F238E27FC236}">
                        <a16:creationId xmlns:a16="http://schemas.microsoft.com/office/drawing/2014/main" id="{AC66B73B-D041-44D2-DE28-1F67D152F3A1}"/>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61" name="Google Shape;1356;p104" descr="Picnic table with solid fill">
                <a:extLst>
                  <a:ext uri="{FF2B5EF4-FFF2-40B4-BE49-F238E27FC236}">
                    <a16:creationId xmlns:a16="http://schemas.microsoft.com/office/drawing/2014/main" id="{32F0EB88-3179-2E20-D0A5-98588731AA8B}"/>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62" name="Google Shape;1357;p104" descr="Bicycle Icon">
                <a:extLst>
                  <a:ext uri="{FF2B5EF4-FFF2-40B4-BE49-F238E27FC236}">
                    <a16:creationId xmlns:a16="http://schemas.microsoft.com/office/drawing/2014/main" id="{5782BE9B-2DA4-9E7F-B316-A6EE751FB6AD}"/>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13" name="Google Shape;1311;p104">
              <a:extLst>
                <a:ext uri="{FF2B5EF4-FFF2-40B4-BE49-F238E27FC236}">
                  <a16:creationId xmlns:a16="http://schemas.microsoft.com/office/drawing/2014/main" id="{F749FBA4-6C9D-0CDF-7180-93E2D3A08598}"/>
                </a:ext>
              </a:extLst>
            </p:cNvPr>
            <p:cNvGrpSpPr/>
            <p:nvPr/>
          </p:nvGrpSpPr>
          <p:grpSpPr>
            <a:xfrm>
              <a:off x="4842257" y="3259133"/>
              <a:ext cx="1725893" cy="2630199"/>
              <a:chOff x="3065624" y="2941929"/>
              <a:chExt cx="1743300" cy="2756680"/>
            </a:xfrm>
          </p:grpSpPr>
          <p:sp>
            <p:nvSpPr>
              <p:cNvPr id="19" name="Google Shape;1312;p104">
                <a:extLst>
                  <a:ext uri="{FF2B5EF4-FFF2-40B4-BE49-F238E27FC236}">
                    <a16:creationId xmlns:a16="http://schemas.microsoft.com/office/drawing/2014/main" id="{BFA234D2-120A-FD69-86AE-5FB98203EDF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0" name="Google Shape;1313;p104">
                <a:extLst>
                  <a:ext uri="{FF2B5EF4-FFF2-40B4-BE49-F238E27FC236}">
                    <a16:creationId xmlns:a16="http://schemas.microsoft.com/office/drawing/2014/main" id="{94DCBF09-ABA2-C4B6-97FC-220DA50B7E63}"/>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1" name="Google Shape;1314;p104">
                <a:extLst>
                  <a:ext uri="{FF2B5EF4-FFF2-40B4-BE49-F238E27FC236}">
                    <a16:creationId xmlns:a16="http://schemas.microsoft.com/office/drawing/2014/main" id="{F0F688BB-42A1-D9B9-B9A0-C12D3974EA66}"/>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2" name="Google Shape;1323;p104">
                <a:extLst>
                  <a:ext uri="{FF2B5EF4-FFF2-40B4-BE49-F238E27FC236}">
                    <a16:creationId xmlns:a16="http://schemas.microsoft.com/office/drawing/2014/main" id="{E4E3A91C-A0F3-2DBD-3A42-4B868F01CE67}"/>
                  </a:ext>
                </a:extLst>
              </p:cNvPr>
              <p:cNvSpPr/>
              <p:nvPr/>
            </p:nvSpPr>
            <p:spPr>
              <a:xfrm>
                <a:off x="3231045"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3" name="Google Shape;1324;p104">
                <a:extLst>
                  <a:ext uri="{FF2B5EF4-FFF2-40B4-BE49-F238E27FC236}">
                    <a16:creationId xmlns:a16="http://schemas.microsoft.com/office/drawing/2014/main" id="{0887182C-EA58-F4C8-0A6F-6284E60A0077}"/>
                  </a:ext>
                </a:extLst>
              </p:cNvPr>
              <p:cNvSpPr/>
              <p:nvPr/>
            </p:nvSpPr>
            <p:spPr>
              <a:xfrm>
                <a:off x="3538809"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4" name="Google Shape;1325;p104">
                <a:extLst>
                  <a:ext uri="{FF2B5EF4-FFF2-40B4-BE49-F238E27FC236}">
                    <a16:creationId xmlns:a16="http://schemas.microsoft.com/office/drawing/2014/main" id="{85F2CEB4-D0CB-A3BD-A40A-DDA728B058F9}"/>
                  </a:ext>
                </a:extLst>
              </p:cNvPr>
              <p:cNvSpPr/>
              <p:nvPr/>
            </p:nvSpPr>
            <p:spPr>
              <a:xfrm>
                <a:off x="3846576" y="3302114"/>
                <a:ext cx="216900" cy="216900"/>
              </a:xfrm>
              <a:prstGeom prst="roundRect">
                <a:avLst>
                  <a:gd name="adj" fmla="val 16667"/>
                </a:avLst>
              </a:prstGeom>
              <a:solidFill>
                <a:schemeClr val="bg1">
                  <a:lumMod val="65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5" name="Google Shape;1326;p104">
                <a:extLst>
                  <a:ext uri="{FF2B5EF4-FFF2-40B4-BE49-F238E27FC236}">
                    <a16:creationId xmlns:a16="http://schemas.microsoft.com/office/drawing/2014/main" id="{F5C5410F-2121-82CA-883E-FE65EBEADE9B}"/>
                  </a:ext>
                </a:extLst>
              </p:cNvPr>
              <p:cNvSpPr/>
              <p:nvPr/>
            </p:nvSpPr>
            <p:spPr>
              <a:xfrm>
                <a:off x="4154342"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6" name="Google Shape;1327;p104">
                <a:extLst>
                  <a:ext uri="{FF2B5EF4-FFF2-40B4-BE49-F238E27FC236}">
                    <a16:creationId xmlns:a16="http://schemas.microsoft.com/office/drawing/2014/main" id="{E164CD8B-6519-6488-697B-850EC3B890A6}"/>
                  </a:ext>
                </a:extLst>
              </p:cNvPr>
              <p:cNvSpPr/>
              <p:nvPr/>
            </p:nvSpPr>
            <p:spPr>
              <a:xfrm>
                <a:off x="4462108" y="3302114"/>
                <a:ext cx="216900" cy="216900"/>
              </a:xfrm>
              <a:prstGeom prst="roundRect">
                <a:avLst>
                  <a:gd name="adj" fmla="val 16667"/>
                </a:avLst>
              </a:prstGeom>
              <a:solidFill>
                <a:schemeClr val="accent4">
                  <a:lumMod val="40000"/>
                  <a:lumOff val="60000"/>
                </a:schemeClr>
              </a:solidFill>
              <a:ln w="12700">
                <a:noFill/>
                <a:prstDash val="dash"/>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7" name="Google Shape;1328;p104">
                <a:extLst>
                  <a:ext uri="{FF2B5EF4-FFF2-40B4-BE49-F238E27FC236}">
                    <a16:creationId xmlns:a16="http://schemas.microsoft.com/office/drawing/2014/main" id="{A8AC4175-8E9A-70C2-56A5-B068A8EFB7D5}"/>
                  </a:ext>
                </a:extLst>
              </p:cNvPr>
              <p:cNvSpPr/>
              <p:nvPr/>
            </p:nvSpPr>
            <p:spPr>
              <a:xfrm>
                <a:off x="3245527"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8" name="Google Shape;1329;p104">
                <a:extLst>
                  <a:ext uri="{FF2B5EF4-FFF2-40B4-BE49-F238E27FC236}">
                    <a16:creationId xmlns:a16="http://schemas.microsoft.com/office/drawing/2014/main" id="{67744030-6713-B9D7-0991-3B82A9C289EE}"/>
                  </a:ext>
                </a:extLst>
              </p:cNvPr>
              <p:cNvSpPr/>
              <p:nvPr/>
            </p:nvSpPr>
            <p:spPr>
              <a:xfrm>
                <a:off x="3553295" y="367659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9" name="Google Shape;1330;p104">
                <a:extLst>
                  <a:ext uri="{FF2B5EF4-FFF2-40B4-BE49-F238E27FC236}">
                    <a16:creationId xmlns:a16="http://schemas.microsoft.com/office/drawing/2014/main" id="{3E97E9F0-DC56-D100-7B11-AEF055A97DCA}"/>
                  </a:ext>
                </a:extLst>
              </p:cNvPr>
              <p:cNvSpPr/>
              <p:nvPr/>
            </p:nvSpPr>
            <p:spPr>
              <a:xfrm>
                <a:off x="3861062" y="3676600"/>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0" name="Google Shape;1331;p104">
                <a:extLst>
                  <a:ext uri="{FF2B5EF4-FFF2-40B4-BE49-F238E27FC236}">
                    <a16:creationId xmlns:a16="http://schemas.microsoft.com/office/drawing/2014/main" id="{F7073BE9-1671-FEE7-C881-346A3AE2C475}"/>
                  </a:ext>
                </a:extLst>
              </p:cNvPr>
              <p:cNvSpPr/>
              <p:nvPr/>
            </p:nvSpPr>
            <p:spPr>
              <a:xfrm>
                <a:off x="4168824" y="3676600"/>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1" name="Google Shape;1332;p104">
                <a:extLst>
                  <a:ext uri="{FF2B5EF4-FFF2-40B4-BE49-F238E27FC236}">
                    <a16:creationId xmlns:a16="http://schemas.microsoft.com/office/drawing/2014/main" id="{06CC2BB9-287A-6152-62E0-425567B829A1}"/>
                  </a:ext>
                </a:extLst>
              </p:cNvPr>
              <p:cNvSpPr/>
              <p:nvPr/>
            </p:nvSpPr>
            <p:spPr>
              <a:xfrm>
                <a:off x="4476593" y="367660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2" name="Google Shape;1333;p104">
                <a:extLst>
                  <a:ext uri="{FF2B5EF4-FFF2-40B4-BE49-F238E27FC236}">
                    <a16:creationId xmlns:a16="http://schemas.microsoft.com/office/drawing/2014/main" id="{6893D8D9-32DD-CF92-2CC1-CE7B0500E134}"/>
                  </a:ext>
                </a:extLst>
              </p:cNvPr>
              <p:cNvSpPr/>
              <p:nvPr/>
            </p:nvSpPr>
            <p:spPr>
              <a:xfrm>
                <a:off x="3245175"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3" name="Google Shape;1334;p104">
                <a:extLst>
                  <a:ext uri="{FF2B5EF4-FFF2-40B4-BE49-F238E27FC236}">
                    <a16:creationId xmlns:a16="http://schemas.microsoft.com/office/drawing/2014/main" id="{C333FD2E-87B7-6B14-3D2B-9E4CCA21AA9E}"/>
                  </a:ext>
                </a:extLst>
              </p:cNvPr>
              <p:cNvSpPr/>
              <p:nvPr/>
            </p:nvSpPr>
            <p:spPr>
              <a:xfrm>
                <a:off x="3552941"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4" name="Google Shape;1335;p104">
                <a:extLst>
                  <a:ext uri="{FF2B5EF4-FFF2-40B4-BE49-F238E27FC236}">
                    <a16:creationId xmlns:a16="http://schemas.microsoft.com/office/drawing/2014/main" id="{416A71BF-C1C4-B629-38F7-60E0683827BE}"/>
                  </a:ext>
                </a:extLst>
              </p:cNvPr>
              <p:cNvSpPr/>
              <p:nvPr/>
            </p:nvSpPr>
            <p:spPr>
              <a:xfrm>
                <a:off x="3860707"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5" name="Google Shape;1336;p104">
                <a:extLst>
                  <a:ext uri="{FF2B5EF4-FFF2-40B4-BE49-F238E27FC236}">
                    <a16:creationId xmlns:a16="http://schemas.microsoft.com/office/drawing/2014/main" id="{98C5E74F-CC52-BDD5-5039-BC7A60803549}"/>
                  </a:ext>
                </a:extLst>
              </p:cNvPr>
              <p:cNvSpPr/>
              <p:nvPr/>
            </p:nvSpPr>
            <p:spPr>
              <a:xfrm>
                <a:off x="4168472" y="4061855"/>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6" name="Google Shape;1337;p104">
                <a:extLst>
                  <a:ext uri="{FF2B5EF4-FFF2-40B4-BE49-F238E27FC236}">
                    <a16:creationId xmlns:a16="http://schemas.microsoft.com/office/drawing/2014/main" id="{F5D8FDAD-571E-8BED-294E-116FD8CF6864}"/>
                  </a:ext>
                </a:extLst>
              </p:cNvPr>
              <p:cNvSpPr/>
              <p:nvPr/>
            </p:nvSpPr>
            <p:spPr>
              <a:xfrm>
                <a:off x="4476239" y="4061855"/>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7" name="Google Shape;1338;p104">
                <a:extLst>
                  <a:ext uri="{FF2B5EF4-FFF2-40B4-BE49-F238E27FC236}">
                    <a16:creationId xmlns:a16="http://schemas.microsoft.com/office/drawing/2014/main" id="{3B176C01-B35C-12A0-C785-76E84702C722}"/>
                  </a:ext>
                </a:extLst>
              </p:cNvPr>
              <p:cNvSpPr/>
              <p:nvPr/>
            </p:nvSpPr>
            <p:spPr>
              <a:xfrm>
                <a:off x="3245527" y="442944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48" name="Google Shape;1339;p104">
                <a:extLst>
                  <a:ext uri="{FF2B5EF4-FFF2-40B4-BE49-F238E27FC236}">
                    <a16:creationId xmlns:a16="http://schemas.microsoft.com/office/drawing/2014/main" id="{CBCCEA58-A032-F97E-E1D2-BA10AAA854E1}"/>
                  </a:ext>
                </a:extLst>
              </p:cNvPr>
              <p:cNvSpPr/>
              <p:nvPr/>
            </p:nvSpPr>
            <p:spPr>
              <a:xfrm>
                <a:off x="355329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49" name="Google Shape;1340;p104">
                <a:extLst>
                  <a:ext uri="{FF2B5EF4-FFF2-40B4-BE49-F238E27FC236}">
                    <a16:creationId xmlns:a16="http://schemas.microsoft.com/office/drawing/2014/main" id="{A13F8D29-D7AF-4059-F46B-DB7C1E8CA600}"/>
                  </a:ext>
                </a:extLst>
              </p:cNvPr>
              <p:cNvSpPr/>
              <p:nvPr/>
            </p:nvSpPr>
            <p:spPr>
              <a:xfrm>
                <a:off x="3861062"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0" name="Google Shape;1341;p104">
                <a:extLst>
                  <a:ext uri="{FF2B5EF4-FFF2-40B4-BE49-F238E27FC236}">
                    <a16:creationId xmlns:a16="http://schemas.microsoft.com/office/drawing/2014/main" id="{8B2A6E12-EE1D-E7A4-79CD-487DA302FC38}"/>
                  </a:ext>
                </a:extLst>
              </p:cNvPr>
              <p:cNvSpPr/>
              <p:nvPr/>
            </p:nvSpPr>
            <p:spPr>
              <a:xfrm>
                <a:off x="4168825" y="442944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1" name="Google Shape;1342;p104">
                <a:extLst>
                  <a:ext uri="{FF2B5EF4-FFF2-40B4-BE49-F238E27FC236}">
                    <a16:creationId xmlns:a16="http://schemas.microsoft.com/office/drawing/2014/main" id="{0B3E6690-78E2-CF8D-8F0F-EA15ECF5FBD6}"/>
                  </a:ext>
                </a:extLst>
              </p:cNvPr>
              <p:cNvSpPr/>
              <p:nvPr/>
            </p:nvSpPr>
            <p:spPr>
              <a:xfrm>
                <a:off x="4476594" y="4429448"/>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2" name="Google Shape;1343;p104">
                <a:extLst>
                  <a:ext uri="{FF2B5EF4-FFF2-40B4-BE49-F238E27FC236}">
                    <a16:creationId xmlns:a16="http://schemas.microsoft.com/office/drawing/2014/main" id="{7DDC9965-13FC-63C2-649C-6DD553949BEA}"/>
                  </a:ext>
                </a:extLst>
              </p:cNvPr>
              <p:cNvSpPr/>
              <p:nvPr/>
            </p:nvSpPr>
            <p:spPr>
              <a:xfrm>
                <a:off x="3241485"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3" name="Google Shape;1344;p104">
                <a:extLst>
                  <a:ext uri="{FF2B5EF4-FFF2-40B4-BE49-F238E27FC236}">
                    <a16:creationId xmlns:a16="http://schemas.microsoft.com/office/drawing/2014/main" id="{E8CD7EF2-FC5D-142D-E39A-979698AF67B5}"/>
                  </a:ext>
                </a:extLst>
              </p:cNvPr>
              <p:cNvSpPr/>
              <p:nvPr/>
            </p:nvSpPr>
            <p:spPr>
              <a:xfrm>
                <a:off x="3549251" y="4798049"/>
                <a:ext cx="216900"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4" name="Google Shape;1345;p104">
                <a:extLst>
                  <a:ext uri="{FF2B5EF4-FFF2-40B4-BE49-F238E27FC236}">
                    <a16:creationId xmlns:a16="http://schemas.microsoft.com/office/drawing/2014/main" id="{A2738999-A52D-6EBC-35EB-31AA0796BD36}"/>
                  </a:ext>
                </a:extLst>
              </p:cNvPr>
              <p:cNvSpPr/>
              <p:nvPr/>
            </p:nvSpPr>
            <p:spPr>
              <a:xfrm>
                <a:off x="3857017"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5" name="Google Shape;1346;p104">
                <a:extLst>
                  <a:ext uri="{FF2B5EF4-FFF2-40B4-BE49-F238E27FC236}">
                    <a16:creationId xmlns:a16="http://schemas.microsoft.com/office/drawing/2014/main" id="{6F996561-7321-3323-DBAF-F6D9CE1FF309}"/>
                  </a:ext>
                </a:extLst>
              </p:cNvPr>
              <p:cNvSpPr/>
              <p:nvPr/>
            </p:nvSpPr>
            <p:spPr>
              <a:xfrm>
                <a:off x="4164782"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6" name="Google Shape;1347;p104">
                <a:extLst>
                  <a:ext uri="{FF2B5EF4-FFF2-40B4-BE49-F238E27FC236}">
                    <a16:creationId xmlns:a16="http://schemas.microsoft.com/office/drawing/2014/main" id="{5A3ED452-BE60-181F-9C97-203C7BF40DA7}"/>
                  </a:ext>
                </a:extLst>
              </p:cNvPr>
              <p:cNvSpPr/>
              <p:nvPr/>
            </p:nvSpPr>
            <p:spPr>
              <a:xfrm>
                <a:off x="4472549" y="479804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57" name="Google Shape;1348;p104">
                <a:extLst>
                  <a:ext uri="{FF2B5EF4-FFF2-40B4-BE49-F238E27FC236}">
                    <a16:creationId xmlns:a16="http://schemas.microsoft.com/office/drawing/2014/main" id="{1EC8989F-4D83-6D20-1012-6F5C584E9D6D}"/>
                  </a:ext>
                </a:extLst>
              </p:cNvPr>
              <p:cNvSpPr/>
              <p:nvPr/>
            </p:nvSpPr>
            <p:spPr>
              <a:xfrm>
                <a:off x="3241837" y="5165641"/>
                <a:ext cx="4290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58" name="Google Shape;1349;p104">
                <a:extLst>
                  <a:ext uri="{FF2B5EF4-FFF2-40B4-BE49-F238E27FC236}">
                    <a16:creationId xmlns:a16="http://schemas.microsoft.com/office/drawing/2014/main" id="{815DE183-7218-A4B1-B860-C06F4309AA3D}"/>
                  </a:ext>
                </a:extLst>
              </p:cNvPr>
              <p:cNvSpPr/>
              <p:nvPr/>
            </p:nvSpPr>
            <p:spPr>
              <a:xfrm>
                <a:off x="4294994" y="5165641"/>
                <a:ext cx="394801" cy="216900"/>
              </a:xfrm>
              <a:prstGeom prst="roundRect">
                <a:avLst>
                  <a:gd name="adj" fmla="val 16667"/>
                </a:avLst>
              </a:prstGeom>
              <a:solidFill>
                <a:schemeClr val="bg1">
                  <a:lumMod val="65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grpSp>
        <p:nvGrpSpPr>
          <p:cNvPr id="227" name="Group 5" descr="on the left we see an office building with assigned utilization. We can see several spaces are unused. &#10;on the left we compare the same building, but with Unassigned utilization. We can see that the unsused space from before can be consolidated together, to be made available for another client. &#10;&#10;As an example we provide the impact of different hybrid work models on GCworkplace floor that can accommodate 100 onsite occupants: &#10;with NO remote work, it can serve 100 total population&#10;with LOW remote work, it can serve 120 total population&#10;with MEDIUM remote work, it can serve 150 total population&#10;and with HIGH remote work, it can serve 180 total population">
            <a:extLst>
              <a:ext uri="{FF2B5EF4-FFF2-40B4-BE49-F238E27FC236}">
                <a16:creationId xmlns:a16="http://schemas.microsoft.com/office/drawing/2014/main" id="{CD4E07AF-5600-82A3-E8AC-221858721018}"/>
              </a:ext>
            </a:extLst>
          </p:cNvPr>
          <p:cNvGrpSpPr/>
          <p:nvPr/>
        </p:nvGrpSpPr>
        <p:grpSpPr>
          <a:xfrm>
            <a:off x="6324275" y="2036711"/>
            <a:ext cx="4702573" cy="3873681"/>
            <a:chOff x="2306020" y="2168083"/>
            <a:chExt cx="4702573" cy="3873681"/>
          </a:xfrm>
        </p:grpSpPr>
        <p:sp>
          <p:nvSpPr>
            <p:cNvPr id="228" name="TextBox 45">
              <a:extLst>
                <a:ext uri="{FF2B5EF4-FFF2-40B4-BE49-F238E27FC236}">
                  <a16:creationId xmlns:a16="http://schemas.microsoft.com/office/drawing/2014/main" id="{2C5C7B4D-E0D3-2A6C-661D-EE6F09B9B0CD}"/>
                </a:ext>
              </a:extLst>
            </p:cNvPr>
            <p:cNvSpPr txBox="1"/>
            <p:nvPr/>
          </p:nvSpPr>
          <p:spPr>
            <a:xfrm>
              <a:off x="3298779" y="2168083"/>
              <a:ext cx="2846395" cy="3693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1200" cap="none" spc="0" normalizeH="0" baseline="0">
                  <a:ln>
                    <a:noFill/>
                  </a:ln>
                  <a:solidFill>
                    <a:srgbClr val="000000"/>
                  </a:solidFill>
                  <a:effectLst/>
                  <a:uLnTx/>
                  <a:uFillTx/>
                  <a:latin typeface="Avenir Next LT Pro" panose="020B0504020202020204" pitchFamily="34" charset="0"/>
                </a:rPr>
                <a:t>Unassigned Utilization</a:t>
              </a:r>
              <a:endParaRPr lang="en-CA" b="1" i="0" u="none" strike="noStrike" kern="1200" cap="none" spc="0" normalizeH="0" baseline="0">
                <a:ln>
                  <a:noFill/>
                </a:ln>
                <a:solidFill>
                  <a:srgbClr val="000000"/>
                </a:solidFill>
                <a:effectLst/>
                <a:uLnTx/>
                <a:uFillTx/>
                <a:latin typeface="Avenir Next LT Pro" panose="020B0504020202020204" pitchFamily="34" charset="0"/>
              </a:endParaRPr>
            </a:p>
          </p:txBody>
        </p:sp>
        <p:grpSp>
          <p:nvGrpSpPr>
            <p:cNvPr id="229" name="Google Shape;1309;p104">
              <a:extLst>
                <a:ext uri="{FF2B5EF4-FFF2-40B4-BE49-F238E27FC236}">
                  <a16:creationId xmlns:a16="http://schemas.microsoft.com/office/drawing/2014/main" id="{55ED023E-A6E0-9EC6-D06E-3F984796C7DA}"/>
                </a:ext>
              </a:extLst>
            </p:cNvPr>
            <p:cNvGrpSpPr/>
            <p:nvPr/>
          </p:nvGrpSpPr>
          <p:grpSpPr>
            <a:xfrm>
              <a:off x="2306020" y="2600213"/>
              <a:ext cx="4702573" cy="3441551"/>
              <a:chOff x="7398006" y="2595759"/>
              <a:chExt cx="3264414" cy="2478923"/>
            </a:xfrm>
          </p:grpSpPr>
          <p:grpSp>
            <p:nvGrpSpPr>
              <p:cNvPr id="261" name="Google Shape;1310;p104">
                <a:extLst>
                  <a:ext uri="{FF2B5EF4-FFF2-40B4-BE49-F238E27FC236}">
                    <a16:creationId xmlns:a16="http://schemas.microsoft.com/office/drawing/2014/main" id="{84687D3C-FA6B-460B-01F4-4DAD9CC781A5}"/>
                  </a:ext>
                </a:extLst>
              </p:cNvPr>
              <p:cNvGrpSpPr/>
              <p:nvPr/>
            </p:nvGrpSpPr>
            <p:grpSpPr>
              <a:xfrm>
                <a:off x="7398006" y="2595759"/>
                <a:ext cx="3264414" cy="2478923"/>
                <a:chOff x="7397719" y="2595653"/>
                <a:chExt cx="3817583" cy="2898986"/>
              </a:xfrm>
            </p:grpSpPr>
            <p:grpSp>
              <p:nvGrpSpPr>
                <p:cNvPr id="264" name="Google Shape;1311;p104">
                  <a:extLst>
                    <a:ext uri="{FF2B5EF4-FFF2-40B4-BE49-F238E27FC236}">
                      <a16:creationId xmlns:a16="http://schemas.microsoft.com/office/drawing/2014/main" id="{C43026BC-7468-7C75-B9A5-92293150B486}"/>
                    </a:ext>
                  </a:extLst>
                </p:cNvPr>
                <p:cNvGrpSpPr/>
                <p:nvPr/>
              </p:nvGrpSpPr>
              <p:grpSpPr>
                <a:xfrm>
                  <a:off x="7397719" y="2595653"/>
                  <a:ext cx="3817583" cy="2898986"/>
                  <a:chOff x="3782853" y="2244933"/>
                  <a:chExt cx="4750010" cy="3607050"/>
                </a:xfrm>
              </p:grpSpPr>
              <p:sp>
                <p:nvSpPr>
                  <p:cNvPr id="270" name="Google Shape;1312;p104">
                    <a:extLst>
                      <a:ext uri="{FF2B5EF4-FFF2-40B4-BE49-F238E27FC236}">
                        <a16:creationId xmlns:a16="http://schemas.microsoft.com/office/drawing/2014/main" id="{0BB0B903-0398-1747-E909-63479AA91B94}"/>
                      </a:ext>
                    </a:extLst>
                  </p:cNvPr>
                  <p:cNvSpPr/>
                  <p:nvPr/>
                </p:nvSpPr>
                <p:spPr>
                  <a:xfrm>
                    <a:off x="4252588" y="241634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1" name="Google Shape;1313;p104">
                    <a:extLst>
                      <a:ext uri="{FF2B5EF4-FFF2-40B4-BE49-F238E27FC236}">
                        <a16:creationId xmlns:a16="http://schemas.microsoft.com/office/drawing/2014/main" id="{C1E84DF3-872F-A72C-5659-01A7AD938776}"/>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2" name="Google Shape;1314;p104">
                    <a:extLst>
                      <a:ext uri="{FF2B5EF4-FFF2-40B4-BE49-F238E27FC236}">
                        <a16:creationId xmlns:a16="http://schemas.microsoft.com/office/drawing/2014/main" id="{239C2953-20ED-42D4-85A3-0A74D4A3BA40}"/>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3" name="Google Shape;1315;p104">
                    <a:extLst>
                      <a:ext uri="{FF2B5EF4-FFF2-40B4-BE49-F238E27FC236}">
                        <a16:creationId xmlns:a16="http://schemas.microsoft.com/office/drawing/2014/main" id="{325B3BC7-41BB-12FE-D668-CB00D156F1F8}"/>
                      </a:ext>
                    </a:extLst>
                  </p:cNvPr>
                  <p:cNvSpPr/>
                  <p:nvPr/>
                </p:nvSpPr>
                <p:spPr>
                  <a:xfrm>
                    <a:off x="4408827"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4" name="Google Shape;1316;p104">
                    <a:extLst>
                      <a:ext uri="{FF2B5EF4-FFF2-40B4-BE49-F238E27FC236}">
                        <a16:creationId xmlns:a16="http://schemas.microsoft.com/office/drawing/2014/main" id="{FD23ED44-65FB-0912-3705-68931A2ECAE1}"/>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5" name="Google Shape;1317;p104">
                    <a:extLst>
                      <a:ext uri="{FF2B5EF4-FFF2-40B4-BE49-F238E27FC236}">
                        <a16:creationId xmlns:a16="http://schemas.microsoft.com/office/drawing/2014/main" id="{4E8101E7-3FC2-1CFD-0CD0-1F258075DD63}"/>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6" name="Google Shape;1318;p104">
                    <a:extLst>
                      <a:ext uri="{FF2B5EF4-FFF2-40B4-BE49-F238E27FC236}">
                        <a16:creationId xmlns:a16="http://schemas.microsoft.com/office/drawing/2014/main" id="{BC3DA3B1-43F3-64FD-7B81-6C468CEEDCD1}"/>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7" name="Google Shape;1304;p104">
                    <a:extLst>
                      <a:ext uri="{FF2B5EF4-FFF2-40B4-BE49-F238E27FC236}">
                        <a16:creationId xmlns:a16="http://schemas.microsoft.com/office/drawing/2014/main" id="{7B97C51C-869D-F58B-42FA-0383319230BA}"/>
                      </a:ext>
                    </a:extLst>
                  </p:cNvPr>
                  <p:cNvSpPr/>
                  <p:nvPr/>
                </p:nvSpPr>
                <p:spPr>
                  <a:xfrm>
                    <a:off x="5639891" y="2517271"/>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8" name="Google Shape;1319;p104">
                    <a:extLst>
                      <a:ext uri="{FF2B5EF4-FFF2-40B4-BE49-F238E27FC236}">
                        <a16:creationId xmlns:a16="http://schemas.microsoft.com/office/drawing/2014/main" id="{F42202AE-E304-7016-92B5-EF7B1A3B4262}"/>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79" name="Google Shape;1320;p104">
                    <a:extLst>
                      <a:ext uri="{FF2B5EF4-FFF2-40B4-BE49-F238E27FC236}">
                        <a16:creationId xmlns:a16="http://schemas.microsoft.com/office/drawing/2014/main" id="{73A0909A-ED2B-C87B-7CF6-71EDAD8CFF93}"/>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0" name="Google Shape;1321;p104">
                    <a:extLst>
                      <a:ext uri="{FF2B5EF4-FFF2-40B4-BE49-F238E27FC236}">
                        <a16:creationId xmlns:a16="http://schemas.microsoft.com/office/drawing/2014/main" id="{7EADF11C-EDAB-EEDF-BA45-B538D967C5FE}"/>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1" name="Google Shape;1322;p104">
                    <a:extLst>
                      <a:ext uri="{FF2B5EF4-FFF2-40B4-BE49-F238E27FC236}">
                        <a16:creationId xmlns:a16="http://schemas.microsoft.com/office/drawing/2014/main" id="{129B6DB9-4AD5-62E3-9639-5DA217C6F243}"/>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2" name="Google Shape;1297;p104">
                    <a:extLst>
                      <a:ext uri="{FF2B5EF4-FFF2-40B4-BE49-F238E27FC236}">
                        <a16:creationId xmlns:a16="http://schemas.microsoft.com/office/drawing/2014/main" id="{C06F4A97-7C7F-038E-35B2-2F180B5F2728}"/>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3" name="Google Shape;1323;p104">
                    <a:extLst>
                      <a:ext uri="{FF2B5EF4-FFF2-40B4-BE49-F238E27FC236}">
                        <a16:creationId xmlns:a16="http://schemas.microsoft.com/office/drawing/2014/main" id="{E49B93A2-878E-9FD3-DB7F-A50CC5A08780}"/>
                      </a:ext>
                    </a:extLst>
                  </p:cNvPr>
                  <p:cNvSpPr/>
                  <p:nvPr/>
                </p:nvSpPr>
                <p:spPr>
                  <a:xfrm>
                    <a:off x="4412188"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4" name="Google Shape;1324;p104">
                    <a:extLst>
                      <a:ext uri="{FF2B5EF4-FFF2-40B4-BE49-F238E27FC236}">
                        <a16:creationId xmlns:a16="http://schemas.microsoft.com/office/drawing/2014/main" id="{E7E32919-A3D2-371F-02E9-51C95F5DD416}"/>
                      </a:ext>
                    </a:extLst>
                  </p:cNvPr>
                  <p:cNvSpPr/>
                  <p:nvPr/>
                </p:nvSpPr>
                <p:spPr>
                  <a:xfrm>
                    <a:off x="4719954" y="327238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5" name="Google Shape;1325;p104">
                    <a:extLst>
                      <a:ext uri="{FF2B5EF4-FFF2-40B4-BE49-F238E27FC236}">
                        <a16:creationId xmlns:a16="http://schemas.microsoft.com/office/drawing/2014/main" id="{16404AA8-FF8E-40B6-4022-A3C090A23FA9}"/>
                      </a:ext>
                    </a:extLst>
                  </p:cNvPr>
                  <p:cNvSpPr/>
                  <p:nvPr/>
                </p:nvSpPr>
                <p:spPr>
                  <a:xfrm>
                    <a:off x="5027720"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6" name="Google Shape;1326;p104">
                    <a:extLst>
                      <a:ext uri="{FF2B5EF4-FFF2-40B4-BE49-F238E27FC236}">
                        <a16:creationId xmlns:a16="http://schemas.microsoft.com/office/drawing/2014/main" id="{96729DA1-3915-A587-C4E7-7739DEE662F1}"/>
                      </a:ext>
                    </a:extLst>
                  </p:cNvPr>
                  <p:cNvSpPr/>
                  <p:nvPr/>
                </p:nvSpPr>
                <p:spPr>
                  <a:xfrm>
                    <a:off x="5335486"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7" name="Google Shape;1327;p104">
                    <a:extLst>
                      <a:ext uri="{FF2B5EF4-FFF2-40B4-BE49-F238E27FC236}">
                        <a16:creationId xmlns:a16="http://schemas.microsoft.com/office/drawing/2014/main" id="{A4513DF9-FEE8-B0EE-C49A-16CCE8083760}"/>
                      </a:ext>
                    </a:extLst>
                  </p:cNvPr>
                  <p:cNvSpPr/>
                  <p:nvPr/>
                </p:nvSpPr>
                <p:spPr>
                  <a:xfrm>
                    <a:off x="5643252" y="3272388"/>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88" name="Google Shape;1328;p104">
                    <a:extLst>
                      <a:ext uri="{FF2B5EF4-FFF2-40B4-BE49-F238E27FC236}">
                        <a16:creationId xmlns:a16="http://schemas.microsoft.com/office/drawing/2014/main" id="{1274EF2F-97C7-FD01-3B52-F78BAA6F44F3}"/>
                      </a:ext>
                    </a:extLst>
                  </p:cNvPr>
                  <p:cNvSpPr/>
                  <p:nvPr/>
                </p:nvSpPr>
                <p:spPr>
                  <a:xfrm>
                    <a:off x="4421383" y="365383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89" name="Google Shape;1329;p104">
                    <a:extLst>
                      <a:ext uri="{FF2B5EF4-FFF2-40B4-BE49-F238E27FC236}">
                        <a16:creationId xmlns:a16="http://schemas.microsoft.com/office/drawing/2014/main" id="{4221D947-470C-5A88-4D50-4833A5B70890}"/>
                      </a:ext>
                    </a:extLst>
                  </p:cNvPr>
                  <p:cNvSpPr/>
                  <p:nvPr/>
                </p:nvSpPr>
                <p:spPr>
                  <a:xfrm>
                    <a:off x="4729149" y="365383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0" name="Google Shape;1330;p104">
                    <a:extLst>
                      <a:ext uri="{FF2B5EF4-FFF2-40B4-BE49-F238E27FC236}">
                        <a16:creationId xmlns:a16="http://schemas.microsoft.com/office/drawing/2014/main" id="{3677BDF7-7497-A3AA-B43C-BDC81649F70B}"/>
                      </a:ext>
                    </a:extLst>
                  </p:cNvPr>
                  <p:cNvSpPr/>
                  <p:nvPr/>
                </p:nvSpPr>
                <p:spPr>
                  <a:xfrm>
                    <a:off x="5036914"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1" name="Google Shape;1331;p104">
                    <a:extLst>
                      <a:ext uri="{FF2B5EF4-FFF2-40B4-BE49-F238E27FC236}">
                        <a16:creationId xmlns:a16="http://schemas.microsoft.com/office/drawing/2014/main" id="{3720CD43-0D89-998D-0225-4FEC2C93EA5E}"/>
                      </a:ext>
                    </a:extLst>
                  </p:cNvPr>
                  <p:cNvSpPr/>
                  <p:nvPr/>
                </p:nvSpPr>
                <p:spPr>
                  <a:xfrm>
                    <a:off x="5344680"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2" name="Google Shape;1332;p104">
                    <a:extLst>
                      <a:ext uri="{FF2B5EF4-FFF2-40B4-BE49-F238E27FC236}">
                        <a16:creationId xmlns:a16="http://schemas.microsoft.com/office/drawing/2014/main" id="{A4F493CE-E510-AF43-0BB4-F73F9E0E5863}"/>
                      </a:ext>
                    </a:extLst>
                  </p:cNvPr>
                  <p:cNvSpPr/>
                  <p:nvPr/>
                </p:nvSpPr>
                <p:spPr>
                  <a:xfrm>
                    <a:off x="5652446" y="3653840"/>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3" name="Google Shape;1333;p104">
                    <a:extLst>
                      <a:ext uri="{FF2B5EF4-FFF2-40B4-BE49-F238E27FC236}">
                        <a16:creationId xmlns:a16="http://schemas.microsoft.com/office/drawing/2014/main" id="{A036B082-257B-D590-20A8-A38E4C380989}"/>
                      </a:ext>
                    </a:extLst>
                  </p:cNvPr>
                  <p:cNvSpPr/>
                  <p:nvPr/>
                </p:nvSpPr>
                <p:spPr>
                  <a:xfrm>
                    <a:off x="4426319"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4" name="Google Shape;1334;p104">
                    <a:extLst>
                      <a:ext uri="{FF2B5EF4-FFF2-40B4-BE49-F238E27FC236}">
                        <a16:creationId xmlns:a16="http://schemas.microsoft.com/office/drawing/2014/main" id="{AD1B518F-B0B9-84B8-C30B-01BABACDC3D1}"/>
                      </a:ext>
                    </a:extLst>
                  </p:cNvPr>
                  <p:cNvSpPr/>
                  <p:nvPr/>
                </p:nvSpPr>
                <p:spPr>
                  <a:xfrm>
                    <a:off x="4734085"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5" name="Google Shape;1335;p104">
                    <a:extLst>
                      <a:ext uri="{FF2B5EF4-FFF2-40B4-BE49-F238E27FC236}">
                        <a16:creationId xmlns:a16="http://schemas.microsoft.com/office/drawing/2014/main" id="{EB68446C-945A-6ADF-3CE9-D30D879C6230}"/>
                      </a:ext>
                    </a:extLst>
                  </p:cNvPr>
                  <p:cNvSpPr/>
                  <p:nvPr/>
                </p:nvSpPr>
                <p:spPr>
                  <a:xfrm>
                    <a:off x="5041851" y="4032129"/>
                    <a:ext cx="2169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6" name="Google Shape;1336;p104">
                    <a:extLst>
                      <a:ext uri="{FF2B5EF4-FFF2-40B4-BE49-F238E27FC236}">
                        <a16:creationId xmlns:a16="http://schemas.microsoft.com/office/drawing/2014/main" id="{2492619A-C3B3-556D-BB47-861CDACA10FB}"/>
                      </a:ext>
                    </a:extLst>
                  </p:cNvPr>
                  <p:cNvSpPr/>
                  <p:nvPr/>
                </p:nvSpPr>
                <p:spPr>
                  <a:xfrm>
                    <a:off x="5349617"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297" name="Google Shape;1337;p104">
                    <a:extLst>
                      <a:ext uri="{FF2B5EF4-FFF2-40B4-BE49-F238E27FC236}">
                        <a16:creationId xmlns:a16="http://schemas.microsoft.com/office/drawing/2014/main" id="{C30C9C55-3D44-2CD4-FCA1-D74BADC6B2E4}"/>
                      </a:ext>
                    </a:extLst>
                  </p:cNvPr>
                  <p:cNvSpPr/>
                  <p:nvPr/>
                </p:nvSpPr>
                <p:spPr>
                  <a:xfrm>
                    <a:off x="5657383" y="4032129"/>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8" name="Google Shape;1338;p104">
                    <a:extLst>
                      <a:ext uri="{FF2B5EF4-FFF2-40B4-BE49-F238E27FC236}">
                        <a16:creationId xmlns:a16="http://schemas.microsoft.com/office/drawing/2014/main" id="{49C95C00-4B7F-CA58-5AF2-082B42759803}"/>
                      </a:ext>
                    </a:extLst>
                  </p:cNvPr>
                  <p:cNvSpPr/>
                  <p:nvPr/>
                </p:nvSpPr>
                <p:spPr>
                  <a:xfrm>
                    <a:off x="4421382" y="4406686"/>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99" name="Google Shape;1339;p104">
                    <a:extLst>
                      <a:ext uri="{FF2B5EF4-FFF2-40B4-BE49-F238E27FC236}">
                        <a16:creationId xmlns:a16="http://schemas.microsoft.com/office/drawing/2014/main" id="{DDA29F15-71FD-4003-42A2-886ED3F2FFDA}"/>
                      </a:ext>
                    </a:extLst>
                  </p:cNvPr>
                  <p:cNvSpPr/>
                  <p:nvPr/>
                </p:nvSpPr>
                <p:spPr>
                  <a:xfrm>
                    <a:off x="4729149"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0" name="Google Shape;1340;p104">
                    <a:extLst>
                      <a:ext uri="{FF2B5EF4-FFF2-40B4-BE49-F238E27FC236}">
                        <a16:creationId xmlns:a16="http://schemas.microsoft.com/office/drawing/2014/main" id="{3B5E7367-27BE-841E-BFF6-2EE465A8DDB3}"/>
                      </a:ext>
                    </a:extLst>
                  </p:cNvPr>
                  <p:cNvSpPr/>
                  <p:nvPr/>
                </p:nvSpPr>
                <p:spPr>
                  <a:xfrm>
                    <a:off x="5036915"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1" name="Google Shape;1341;p104">
                    <a:extLst>
                      <a:ext uri="{FF2B5EF4-FFF2-40B4-BE49-F238E27FC236}">
                        <a16:creationId xmlns:a16="http://schemas.microsoft.com/office/drawing/2014/main" id="{54917BA4-35E9-EC20-1F6B-90754EFA42FF}"/>
                      </a:ext>
                    </a:extLst>
                  </p:cNvPr>
                  <p:cNvSpPr/>
                  <p:nvPr/>
                </p:nvSpPr>
                <p:spPr>
                  <a:xfrm>
                    <a:off x="5344681"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2" name="Google Shape;1342;p104">
                    <a:extLst>
                      <a:ext uri="{FF2B5EF4-FFF2-40B4-BE49-F238E27FC236}">
                        <a16:creationId xmlns:a16="http://schemas.microsoft.com/office/drawing/2014/main" id="{C3416265-BDEF-8331-B39A-01D86E0CB5C6}"/>
                      </a:ext>
                    </a:extLst>
                  </p:cNvPr>
                  <p:cNvSpPr/>
                  <p:nvPr/>
                </p:nvSpPr>
                <p:spPr>
                  <a:xfrm>
                    <a:off x="5652447" y="4406687"/>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3" name="Google Shape;1343;p104">
                    <a:extLst>
                      <a:ext uri="{FF2B5EF4-FFF2-40B4-BE49-F238E27FC236}">
                        <a16:creationId xmlns:a16="http://schemas.microsoft.com/office/drawing/2014/main" id="{5C1649E8-3E17-F69A-9C9D-06491250E0B4}"/>
                      </a:ext>
                    </a:extLst>
                  </p:cNvPr>
                  <p:cNvSpPr/>
                  <p:nvPr/>
                </p:nvSpPr>
                <p:spPr>
                  <a:xfrm>
                    <a:off x="4422629"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4" name="Google Shape;1344;p104">
                    <a:extLst>
                      <a:ext uri="{FF2B5EF4-FFF2-40B4-BE49-F238E27FC236}">
                        <a16:creationId xmlns:a16="http://schemas.microsoft.com/office/drawing/2014/main" id="{8FF39E85-EA61-3AF9-E36F-A2A41D7C536F}"/>
                      </a:ext>
                    </a:extLst>
                  </p:cNvPr>
                  <p:cNvSpPr/>
                  <p:nvPr/>
                </p:nvSpPr>
                <p:spPr>
                  <a:xfrm>
                    <a:off x="4730395"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5" name="Google Shape;1345;p104">
                    <a:extLst>
                      <a:ext uri="{FF2B5EF4-FFF2-40B4-BE49-F238E27FC236}">
                        <a16:creationId xmlns:a16="http://schemas.microsoft.com/office/drawing/2014/main" id="{FEFE2669-FC11-1E25-1660-19113C3702FD}"/>
                      </a:ext>
                    </a:extLst>
                  </p:cNvPr>
                  <p:cNvSpPr/>
                  <p:nvPr/>
                </p:nvSpPr>
                <p:spPr>
                  <a:xfrm>
                    <a:off x="5038161"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6" name="Google Shape;1346;p104">
                    <a:extLst>
                      <a:ext uri="{FF2B5EF4-FFF2-40B4-BE49-F238E27FC236}">
                        <a16:creationId xmlns:a16="http://schemas.microsoft.com/office/drawing/2014/main" id="{7FC99DFE-CB17-B304-2692-3FD0448BAB43}"/>
                      </a:ext>
                    </a:extLst>
                  </p:cNvPr>
                  <p:cNvSpPr/>
                  <p:nvPr/>
                </p:nvSpPr>
                <p:spPr>
                  <a:xfrm>
                    <a:off x="5345927"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7" name="Google Shape;1347;p104">
                    <a:extLst>
                      <a:ext uri="{FF2B5EF4-FFF2-40B4-BE49-F238E27FC236}">
                        <a16:creationId xmlns:a16="http://schemas.microsoft.com/office/drawing/2014/main" id="{0F034014-6239-3A54-2E9F-862927701543}"/>
                      </a:ext>
                    </a:extLst>
                  </p:cNvPr>
                  <p:cNvSpPr/>
                  <p:nvPr/>
                </p:nvSpPr>
                <p:spPr>
                  <a:xfrm>
                    <a:off x="5653693" y="47683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chemeClr val="accent4">
                          <a:lumMod val="40000"/>
                          <a:lumOff val="60000"/>
                        </a:schemeClr>
                      </a:solidFill>
                      <a:latin typeface="Avenir Next LT Pro" panose="020B0504020202020204" pitchFamily="34" charset="0"/>
                      <a:ea typeface="Arial"/>
                      <a:cs typeface="Arial"/>
                      <a:sym typeface="Arial"/>
                    </a:endParaRPr>
                  </a:p>
                </p:txBody>
              </p:sp>
              <p:sp>
                <p:nvSpPr>
                  <p:cNvPr id="308" name="Google Shape;1348;p104">
                    <a:extLst>
                      <a:ext uri="{FF2B5EF4-FFF2-40B4-BE49-F238E27FC236}">
                        <a16:creationId xmlns:a16="http://schemas.microsoft.com/office/drawing/2014/main" id="{1D4B8F6B-145B-6B0E-22E7-C36922CADBED}"/>
                      </a:ext>
                    </a:extLst>
                  </p:cNvPr>
                  <p:cNvSpPr/>
                  <p:nvPr/>
                </p:nvSpPr>
                <p:spPr>
                  <a:xfrm>
                    <a:off x="4417692" y="5142881"/>
                    <a:ext cx="4290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09" name="Google Shape;1349;p104">
                    <a:extLst>
                      <a:ext uri="{FF2B5EF4-FFF2-40B4-BE49-F238E27FC236}">
                        <a16:creationId xmlns:a16="http://schemas.microsoft.com/office/drawing/2014/main" id="{8236CE7B-D61F-E26F-7401-452B27D8DC31}"/>
                      </a:ext>
                    </a:extLst>
                  </p:cNvPr>
                  <p:cNvSpPr/>
                  <p:nvPr/>
                </p:nvSpPr>
                <p:spPr>
                  <a:xfrm>
                    <a:off x="5470853" y="5142881"/>
                    <a:ext cx="394800" cy="216900"/>
                  </a:xfrm>
                  <a:prstGeom prst="roundRect">
                    <a:avLst>
                      <a:gd name="adj" fmla="val 16667"/>
                    </a:avLst>
                  </a:prstGeom>
                  <a:solidFill>
                    <a:srgbClr val="FADDA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310" name="Google Shape;1350;p104">
                    <a:extLst>
                      <a:ext uri="{FF2B5EF4-FFF2-40B4-BE49-F238E27FC236}">
                        <a16:creationId xmlns:a16="http://schemas.microsoft.com/office/drawing/2014/main" id="{66D5FCE9-5B03-0A50-3AA2-ACC0414A949C}"/>
                      </a:ext>
                    </a:extLst>
                  </p:cNvPr>
                  <p:cNvSpPr/>
                  <p:nvPr/>
                </p:nvSpPr>
                <p:spPr>
                  <a:xfrm>
                    <a:off x="3782853" y="5684244"/>
                    <a:ext cx="4750010" cy="16773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sp>
              <p:nvSpPr>
                <p:cNvPr id="265" name="Google Shape;1351;p104">
                  <a:extLst>
                    <a:ext uri="{FF2B5EF4-FFF2-40B4-BE49-F238E27FC236}">
                      <a16:creationId xmlns:a16="http://schemas.microsoft.com/office/drawing/2014/main" id="{1A767E50-0F77-BF9A-2448-3A320B5D26A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6" name="Google Shape;1352;p104">
                  <a:extLst>
                    <a:ext uri="{FF2B5EF4-FFF2-40B4-BE49-F238E27FC236}">
                      <a16:creationId xmlns:a16="http://schemas.microsoft.com/office/drawing/2014/main" id="{17AFEB20-076E-A228-3226-D82B48759F7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nvGrpSpPr>
                <p:cNvPr id="267" name="Google Shape;1353;p104">
                  <a:extLst>
                    <a:ext uri="{FF2B5EF4-FFF2-40B4-BE49-F238E27FC236}">
                      <a16:creationId xmlns:a16="http://schemas.microsoft.com/office/drawing/2014/main" id="{E4D23994-3511-2B97-4899-ED589D1D8E98}"/>
                    </a:ext>
                  </a:extLst>
                </p:cNvPr>
                <p:cNvGrpSpPr/>
                <p:nvPr/>
              </p:nvGrpSpPr>
              <p:grpSpPr>
                <a:xfrm>
                  <a:off x="7402085" y="4400279"/>
                  <a:ext cx="306080" cy="1067964"/>
                  <a:chOff x="3146566" y="4705830"/>
                  <a:chExt cx="275700" cy="823920"/>
                </a:xfrm>
              </p:grpSpPr>
              <p:sp>
                <p:nvSpPr>
                  <p:cNvPr id="268" name="Google Shape;1354;p104">
                    <a:extLst>
                      <a:ext uri="{FF2B5EF4-FFF2-40B4-BE49-F238E27FC236}">
                        <a16:creationId xmlns:a16="http://schemas.microsoft.com/office/drawing/2014/main" id="{258B65CB-D247-F9E1-EDCA-FEA6F66FE970}"/>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69" name="Google Shape;1355;p104">
                    <a:extLst>
                      <a:ext uri="{FF2B5EF4-FFF2-40B4-BE49-F238E27FC236}">
                        <a16:creationId xmlns:a16="http://schemas.microsoft.com/office/drawing/2014/main" id="{531B218B-C9A8-F848-9B87-8D658B87F433}"/>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pic>
            <p:nvPicPr>
              <p:cNvPr id="262" name="Google Shape;1356;p104" descr="Picnic table with solid fill">
                <a:extLst>
                  <a:ext uri="{FF2B5EF4-FFF2-40B4-BE49-F238E27FC236}">
                    <a16:creationId xmlns:a16="http://schemas.microsoft.com/office/drawing/2014/main" id="{A27F34E5-B66C-61A7-94D0-C691541E6BFF}"/>
                  </a:ext>
                </a:extLst>
              </p:cNvPr>
              <p:cNvPicPr preferRelativeResize="0"/>
              <p:nvPr/>
            </p:nvPicPr>
            <p:blipFill rotWithShape="1">
              <a:blip r:embed="rId2">
                <a:alphaModFix/>
              </a:blip>
              <a:srcRect/>
              <a:stretch/>
            </p:blipFill>
            <p:spPr>
              <a:xfrm>
                <a:off x="8854378" y="4753095"/>
                <a:ext cx="261700" cy="261700"/>
              </a:xfrm>
              <a:prstGeom prst="rect">
                <a:avLst/>
              </a:prstGeom>
              <a:noFill/>
              <a:ln>
                <a:noFill/>
              </a:ln>
            </p:spPr>
          </p:pic>
          <p:sp>
            <p:nvSpPr>
              <p:cNvPr id="263" name="Google Shape;1357;p104" descr="Bicycle Icon">
                <a:extLst>
                  <a:ext uri="{FF2B5EF4-FFF2-40B4-BE49-F238E27FC236}">
                    <a16:creationId xmlns:a16="http://schemas.microsoft.com/office/drawing/2014/main" id="{D73D1805-F830-5576-8486-46AF09F304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spcBef>
                    <a:spcPts val="0"/>
                  </a:spcBef>
                  <a:spcAft>
                    <a:spcPts val="0"/>
                  </a:spcAft>
                  <a:buNone/>
                </a:pPr>
                <a:endParaRPr sz="1800">
                  <a:solidFill>
                    <a:srgbClr val="000000"/>
                  </a:solidFill>
                  <a:latin typeface="Avenir Next LT Pro" panose="020B0504020202020204" pitchFamily="34" charset="0"/>
                  <a:ea typeface="Arial"/>
                  <a:cs typeface="Arial"/>
                  <a:sym typeface="Arial"/>
                </a:endParaRPr>
              </a:p>
            </p:txBody>
          </p:sp>
        </p:grpSp>
        <p:grpSp>
          <p:nvGrpSpPr>
            <p:cNvPr id="230" name="Google Shape;1311;p104">
              <a:extLst>
                <a:ext uri="{FF2B5EF4-FFF2-40B4-BE49-F238E27FC236}">
                  <a16:creationId xmlns:a16="http://schemas.microsoft.com/office/drawing/2014/main" id="{1C4847AD-FE06-E551-7752-60670ECFA86A}"/>
                </a:ext>
              </a:extLst>
            </p:cNvPr>
            <p:cNvGrpSpPr/>
            <p:nvPr/>
          </p:nvGrpSpPr>
          <p:grpSpPr>
            <a:xfrm>
              <a:off x="4842257" y="3259133"/>
              <a:ext cx="1725893" cy="2630199"/>
              <a:chOff x="3065624" y="2941929"/>
              <a:chExt cx="1743300" cy="2756680"/>
            </a:xfrm>
          </p:grpSpPr>
          <p:sp>
            <p:nvSpPr>
              <p:cNvPr id="231" name="Google Shape;1312;p104">
                <a:extLst>
                  <a:ext uri="{FF2B5EF4-FFF2-40B4-BE49-F238E27FC236}">
                    <a16:creationId xmlns:a16="http://schemas.microsoft.com/office/drawing/2014/main" id="{6FBD3BC9-B2A2-779B-12B9-885937EE9E25}"/>
                  </a:ext>
                </a:extLst>
              </p:cNvPr>
              <p:cNvSpPr/>
              <p:nvPr/>
            </p:nvSpPr>
            <p:spPr>
              <a:xfrm>
                <a:off x="3065624" y="3097493"/>
                <a:ext cx="1743300" cy="2601116"/>
              </a:xfrm>
              <a:prstGeom prst="roundRect">
                <a:avLst>
                  <a:gd name="adj" fmla="val 3657"/>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2" name="Google Shape;1313;p104">
                <a:extLst>
                  <a:ext uri="{FF2B5EF4-FFF2-40B4-BE49-F238E27FC236}">
                    <a16:creationId xmlns:a16="http://schemas.microsoft.com/office/drawing/2014/main" id="{FF065F58-F2EC-0948-DEE7-13DEBE3A1792}"/>
                  </a:ext>
                </a:extLst>
              </p:cNvPr>
              <p:cNvSpPr/>
              <p:nvPr/>
            </p:nvSpPr>
            <p:spPr>
              <a:xfrm>
                <a:off x="3788285" y="5187709"/>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sp>
            <p:nvSpPr>
              <p:cNvPr id="233" name="Google Shape;1314;p104">
                <a:extLst>
                  <a:ext uri="{FF2B5EF4-FFF2-40B4-BE49-F238E27FC236}">
                    <a16:creationId xmlns:a16="http://schemas.microsoft.com/office/drawing/2014/main" id="{4DB2FB09-DEBD-AFCE-699F-3C6EF9579BC7}"/>
                  </a:ext>
                </a:extLst>
              </p:cNvPr>
              <p:cNvSpPr/>
              <p:nvPr/>
            </p:nvSpPr>
            <p:spPr>
              <a:xfrm>
                <a:off x="3331718" y="2941929"/>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a:solidFill>
                    <a:srgbClr val="F1F2F2"/>
                  </a:solidFill>
                  <a:latin typeface="Avenir Next LT Pro" panose="020B0504020202020204" pitchFamily="34" charset="0"/>
                  <a:ea typeface="Arial"/>
                  <a:cs typeface="Arial"/>
                  <a:sym typeface="Arial"/>
                </a:endParaRPr>
              </a:p>
            </p:txBody>
          </p:sp>
        </p:grpSp>
      </p:grpSp>
      <p:sp>
        <p:nvSpPr>
          <p:cNvPr id="311" name="TextBox 310">
            <a:extLst>
              <a:ext uri="{FF2B5EF4-FFF2-40B4-BE49-F238E27FC236}">
                <a16:creationId xmlns:a16="http://schemas.microsoft.com/office/drawing/2014/main" id="{7F17BAD9-B2D7-AE7A-CCDA-9D497073F97B}"/>
              </a:ext>
            </a:extLst>
          </p:cNvPr>
          <p:cNvSpPr txBox="1"/>
          <p:nvPr/>
        </p:nvSpPr>
        <p:spPr>
          <a:xfrm>
            <a:off x="9004541" y="3402768"/>
            <a:ext cx="1478150" cy="1754326"/>
          </a:xfrm>
          <a:prstGeom prst="rect">
            <a:avLst/>
          </a:prstGeom>
          <a:noFill/>
        </p:spPr>
        <p:txBody>
          <a:bodyPr wrap="square" rtlCol="0">
            <a:spAutoFit/>
          </a:bodyPr>
          <a:lstStyle/>
          <a:p>
            <a:pPr algn="ctr">
              <a:defRPr/>
            </a:pPr>
            <a:r>
              <a:rPr lang="en-CA" b="1">
                <a:solidFill>
                  <a:srgbClr val="000000"/>
                </a:solidFill>
                <a:latin typeface="Avenir Next LT Pro" panose="020B0504020202020204" pitchFamily="34" charset="0"/>
              </a:rPr>
              <a:t>Divested with potential for converting into homes</a:t>
            </a:r>
          </a:p>
        </p:txBody>
      </p:sp>
    </p:spTree>
    <p:extLst>
      <p:ext uri="{BB962C8B-B14F-4D97-AF65-F5344CB8AC3E}">
        <p14:creationId xmlns:p14="http://schemas.microsoft.com/office/powerpoint/2010/main" val="3194185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fr-CA" dirty="0"/>
              <a:t>Our vision</a:t>
            </a:r>
            <a:endParaRPr lang="en-CA" dirty="0"/>
          </a:p>
        </p:txBody>
      </p:sp>
    </p:spTree>
    <p:extLst>
      <p:ext uri="{BB962C8B-B14F-4D97-AF65-F5344CB8AC3E}">
        <p14:creationId xmlns:p14="http://schemas.microsoft.com/office/powerpoint/2010/main" val="2233085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119AA-C27C-1F93-8533-D6E1F56A43A8}"/>
              </a:ext>
            </a:extLst>
          </p:cNvPr>
          <p:cNvSpPr>
            <a:spLocks noGrp="1"/>
          </p:cNvSpPr>
          <p:nvPr>
            <p:ph type="title"/>
          </p:nvPr>
        </p:nvSpPr>
        <p:spPr/>
        <p:txBody>
          <a:bodyPr>
            <a:normAutofit/>
          </a:bodyPr>
          <a:lstStyle/>
          <a:p>
            <a:r>
              <a:rPr lang="fr-CA" dirty="0"/>
              <a:t>W</a:t>
            </a:r>
            <a:r>
              <a:rPr lang="en-CA" dirty="0"/>
              <a:t>hat does it mean for our organization</a:t>
            </a:r>
          </a:p>
        </p:txBody>
      </p:sp>
      <p:grpSp>
        <p:nvGrpSpPr>
          <p:cNvPr id="119" name="Gruppieren 269">
            <a:extLst>
              <a:ext uri="{FF2B5EF4-FFF2-40B4-BE49-F238E27FC236}">
                <a16:creationId xmlns:a16="http://schemas.microsoft.com/office/drawing/2014/main" id="{35030E9D-B4CE-0B9D-28C2-9F05C1F829FA}"/>
              </a:ext>
              <a:ext uri="{C183D7F6-B498-43B3-948B-1728B52AA6E4}">
                <adec:decorative xmlns:adec="http://schemas.microsoft.com/office/drawing/2017/decorative" val="1"/>
              </a:ext>
            </a:extLst>
          </p:cNvPr>
          <p:cNvGrpSpPr>
            <a:grpSpLocks noChangeAspect="1"/>
          </p:cNvGrpSpPr>
          <p:nvPr/>
        </p:nvGrpSpPr>
        <p:grpSpPr bwMode="gray">
          <a:xfrm>
            <a:off x="1523526" y="1690762"/>
            <a:ext cx="603603" cy="480230"/>
            <a:chOff x="7230825" y="5801578"/>
            <a:chExt cx="541734" cy="431006"/>
          </a:xfrm>
          <a:solidFill>
            <a:schemeClr val="tx2">
              <a:lumMod val="75000"/>
            </a:schemeClr>
          </a:solidFill>
        </p:grpSpPr>
        <p:sp>
          <p:nvSpPr>
            <p:cNvPr id="144" name="Freeform 1546">
              <a:extLst>
                <a:ext uri="{FF2B5EF4-FFF2-40B4-BE49-F238E27FC236}">
                  <a16:creationId xmlns:a16="http://schemas.microsoft.com/office/drawing/2014/main" id="{1890C364-13EC-8AA3-D9B8-25BECFFB618D}"/>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5" name="Freeform 1547">
              <a:extLst>
                <a:ext uri="{FF2B5EF4-FFF2-40B4-BE49-F238E27FC236}">
                  <a16:creationId xmlns:a16="http://schemas.microsoft.com/office/drawing/2014/main" id="{241CF055-B551-C738-8FF7-32A5EE06315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6" name="Freeform 1548">
              <a:extLst>
                <a:ext uri="{FF2B5EF4-FFF2-40B4-BE49-F238E27FC236}">
                  <a16:creationId xmlns:a16="http://schemas.microsoft.com/office/drawing/2014/main" id="{0F0337CF-E057-1035-701B-8D0F6E4ED81A}"/>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7" name="Freeform 1549">
              <a:extLst>
                <a:ext uri="{FF2B5EF4-FFF2-40B4-BE49-F238E27FC236}">
                  <a16:creationId xmlns:a16="http://schemas.microsoft.com/office/drawing/2014/main" id="{343636E2-B99B-D259-C2B5-8C58D458FF2E}"/>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8" name="Freeform 1550">
              <a:extLst>
                <a:ext uri="{FF2B5EF4-FFF2-40B4-BE49-F238E27FC236}">
                  <a16:creationId xmlns:a16="http://schemas.microsoft.com/office/drawing/2014/main" id="{216AECD0-CB3C-DCEC-EA7D-EF9B06A71D9F}"/>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grpSp>
      <p:sp>
        <p:nvSpPr>
          <p:cNvPr id="117" name="Rectangle 116">
            <a:extLst>
              <a:ext uri="{FF2B5EF4-FFF2-40B4-BE49-F238E27FC236}">
                <a16:creationId xmlns:a16="http://schemas.microsoft.com/office/drawing/2014/main" id="{C9DAC2A6-C89F-2DC3-5552-32890189A83F}"/>
              </a:ext>
            </a:extLst>
          </p:cNvPr>
          <p:cNvSpPr/>
          <p:nvPr/>
        </p:nvSpPr>
        <p:spPr>
          <a:xfrm>
            <a:off x="2301842" y="1766378"/>
            <a:ext cx="1491185" cy="404613"/>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b="1" dirty="0">
                <a:solidFill>
                  <a:schemeClr val="bg1"/>
                </a:solidFill>
                <a:latin typeface="Avenir Next LT Pro" panose="020B0504020202020204" pitchFamily="34" charset="0"/>
              </a:rPr>
              <a:t>N</a:t>
            </a:r>
            <a:r>
              <a:rPr lang="en-CA" b="1" dirty="0">
                <a:solidFill>
                  <a:schemeClr val="bg1"/>
                </a:solidFill>
                <a:latin typeface="Avenir Next LT Pro" panose="020B0504020202020204" pitchFamily="34" charset="0"/>
              </a:rPr>
              <a:t>ow</a:t>
            </a:r>
            <a:endParaRPr kumimoji="0" lang="en-CA" sz="1800" b="1"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sp>
        <p:nvSpPr>
          <p:cNvPr id="122" name="Rectangle: Rounded Corners 248">
            <a:extLst>
              <a:ext uri="{FF2B5EF4-FFF2-40B4-BE49-F238E27FC236}">
                <a16:creationId xmlns:a16="http://schemas.microsoft.com/office/drawing/2014/main" id="{A9D90BF1-5FA9-70F0-2114-74B647F61343}"/>
              </a:ext>
            </a:extLst>
          </p:cNvPr>
          <p:cNvSpPr/>
          <p:nvPr/>
        </p:nvSpPr>
        <p:spPr>
          <a:xfrm>
            <a:off x="792054" y="244569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Address</a:t>
            </a:r>
            <a:endParaRPr lang="fr-CA" sz="1600" dirty="0">
              <a:solidFill>
                <a:srgbClr val="FF0000"/>
              </a:solidFill>
              <a:highlight>
                <a:srgbClr val="FFFF00"/>
              </a:highlight>
              <a:latin typeface="Avenir Next LT Pro" panose="020B0504020202020204" pitchFamily="34" charset="0"/>
            </a:endParaRPr>
          </a:p>
        </p:txBody>
      </p:sp>
      <p:sp>
        <p:nvSpPr>
          <p:cNvPr id="123" name="Rectangle: Rounded Corners 249">
            <a:extLst>
              <a:ext uri="{FF2B5EF4-FFF2-40B4-BE49-F238E27FC236}">
                <a16:creationId xmlns:a16="http://schemas.microsoft.com/office/drawing/2014/main" id="{96958ADE-A4CF-B97E-6CC3-E67FA3D6703E}"/>
              </a:ext>
            </a:extLst>
          </p:cNvPr>
          <p:cNvSpPr/>
          <p:nvPr/>
        </p:nvSpPr>
        <p:spPr>
          <a:xfrm>
            <a:off x="792053" y="3007585"/>
            <a:ext cx="3583251" cy="360836"/>
          </a:xfrm>
          <a:prstGeom prst="roundRect">
            <a:avLst/>
          </a:prstGeom>
          <a:solidFill>
            <a:schemeClr val="tx2">
              <a:lumMod val="20000"/>
              <a:lumOff val="80000"/>
            </a:schemeClr>
          </a:solid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err="1">
                <a:solidFill>
                  <a:schemeClr val="tx1"/>
                </a:solidFill>
                <a:latin typeface="Avenir Next LT Pro" panose="020B0504020202020204" pitchFamily="34" charset="0"/>
              </a:rPr>
              <a:t>Number</a:t>
            </a:r>
            <a:r>
              <a:rPr lang="fr-CA" sz="1600" dirty="0">
                <a:solidFill>
                  <a:schemeClr val="tx1"/>
                </a:solidFill>
                <a:latin typeface="Avenir Next LT Pro" panose="020B0504020202020204" pitchFamily="34" charset="0"/>
              </a:rPr>
              <a:t> of </a:t>
            </a:r>
            <a:r>
              <a:rPr lang="fr-CA" sz="1600" dirty="0" err="1">
                <a:solidFill>
                  <a:schemeClr val="tx1"/>
                </a:solidFill>
                <a:latin typeface="Avenir Next LT Pro" panose="020B0504020202020204" pitchFamily="34" charset="0"/>
              </a:rPr>
              <a:t>floors</a:t>
            </a:r>
            <a:endParaRPr lang="fr-CA" sz="1600" dirty="0">
              <a:solidFill>
                <a:schemeClr val="tx1"/>
              </a:solidFill>
              <a:latin typeface="Avenir Next LT Pro" panose="020B0504020202020204" pitchFamily="34" charset="0"/>
            </a:endParaRPr>
          </a:p>
        </p:txBody>
      </p:sp>
      <p:sp>
        <p:nvSpPr>
          <p:cNvPr id="115" name="Rectangle: Rounded Corners 152" descr="Assigned workstation for one individual">
            <a:extLst>
              <a:ext uri="{FF2B5EF4-FFF2-40B4-BE49-F238E27FC236}">
                <a16:creationId xmlns:a16="http://schemas.microsoft.com/office/drawing/2014/main" id="{99B313E4-68F8-0E05-784F-777B53C53AD8}"/>
              </a:ext>
            </a:extLst>
          </p:cNvPr>
          <p:cNvSpPr/>
          <p:nvPr/>
        </p:nvSpPr>
        <p:spPr>
          <a:xfrm>
            <a:off x="792053" y="3676943"/>
            <a:ext cx="3583251" cy="1159713"/>
          </a:xfrm>
          <a:prstGeom prst="roundRect">
            <a:avLst>
              <a:gd name="adj" fmla="val 5112"/>
            </a:avLst>
          </a:pr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a:p>
        </p:txBody>
      </p:sp>
      <p:sp>
        <p:nvSpPr>
          <p:cNvPr id="130" name="TextBox 151">
            <a:extLst>
              <a:ext uri="{FF2B5EF4-FFF2-40B4-BE49-F238E27FC236}">
                <a16:creationId xmlns:a16="http://schemas.microsoft.com/office/drawing/2014/main" id="{37927CF3-81AF-9EC4-5FAE-0F465D84F953}"/>
              </a:ext>
              <a:ext uri="{C183D7F6-B498-43B3-948B-1728B52AA6E4}">
                <adec:decorative xmlns:adec="http://schemas.microsoft.com/office/drawing/2017/decorative" val="1"/>
              </a:ext>
            </a:extLst>
          </p:cNvPr>
          <p:cNvSpPr txBox="1"/>
          <p:nvPr/>
        </p:nvSpPr>
        <p:spPr>
          <a:xfrm>
            <a:off x="1067402" y="3964411"/>
            <a:ext cx="1515851"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a:latin typeface="Avenir Next LT Pro" panose="020B0504020202020204" pitchFamily="34" charset="0"/>
              </a:rPr>
              <a:t>Assigned 1:1 workstations</a:t>
            </a:r>
          </a:p>
        </p:txBody>
      </p:sp>
      <p:pic>
        <p:nvPicPr>
          <p:cNvPr id="128" name="Picture 148">
            <a:extLst>
              <a:ext uri="{FF2B5EF4-FFF2-40B4-BE49-F238E27FC236}">
                <a16:creationId xmlns:a16="http://schemas.microsoft.com/office/drawing/2014/main" id="{72D7B425-467D-E300-99B1-FF1BD469BAA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3118573" y="3801023"/>
            <a:ext cx="492134" cy="929265"/>
          </a:xfrm>
          <a:prstGeom prst="rect">
            <a:avLst/>
          </a:prstGeom>
        </p:spPr>
      </p:pic>
      <p:pic>
        <p:nvPicPr>
          <p:cNvPr id="129" name="Picture 149">
            <a:extLst>
              <a:ext uri="{FF2B5EF4-FFF2-40B4-BE49-F238E27FC236}">
                <a16:creationId xmlns:a16="http://schemas.microsoft.com/office/drawing/2014/main" id="{E625BF06-9D3F-0649-97EF-1BA8A59764D7}"/>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3628521" y="3900734"/>
            <a:ext cx="469801" cy="848938"/>
          </a:xfrm>
          <a:prstGeom prst="rect">
            <a:avLst/>
          </a:prstGeom>
        </p:spPr>
      </p:pic>
      <p:sp>
        <p:nvSpPr>
          <p:cNvPr id="121" name="Freeform: Shape 247" descr="Arrow between the column Now and the column about our future state">
            <a:extLst>
              <a:ext uri="{FF2B5EF4-FFF2-40B4-BE49-F238E27FC236}">
                <a16:creationId xmlns:a16="http://schemas.microsoft.com/office/drawing/2014/main" id="{66B4CDA5-6D84-9E6F-207A-6E00AF65A892}"/>
              </a:ext>
            </a:extLst>
          </p:cNvPr>
          <p:cNvSpPr/>
          <p:nvPr/>
        </p:nvSpPr>
        <p:spPr>
          <a:xfrm>
            <a:off x="3998520" y="1736713"/>
            <a:ext cx="3220151" cy="305726"/>
          </a:xfrm>
          <a:custGeom>
            <a:avLst/>
            <a:gdLst>
              <a:gd name="connsiteX0" fmla="*/ 0 w 3333136"/>
              <a:gd name="connsiteY0" fmla="*/ 196646 h 289799"/>
              <a:gd name="connsiteX1" fmla="*/ 167149 w 3333136"/>
              <a:gd name="connsiteY1" fmla="*/ 176981 h 289799"/>
              <a:gd name="connsiteX2" fmla="*/ 265471 w 3333136"/>
              <a:gd name="connsiteY2" fmla="*/ 167149 h 289799"/>
              <a:gd name="connsiteX3" fmla="*/ 314633 w 3333136"/>
              <a:gd name="connsiteY3" fmla="*/ 157317 h 289799"/>
              <a:gd name="connsiteX4" fmla="*/ 570271 w 3333136"/>
              <a:gd name="connsiteY4" fmla="*/ 117987 h 289799"/>
              <a:gd name="connsiteX5" fmla="*/ 717755 w 3333136"/>
              <a:gd name="connsiteY5" fmla="*/ 78658 h 289799"/>
              <a:gd name="connsiteX6" fmla="*/ 875071 w 3333136"/>
              <a:gd name="connsiteY6" fmla="*/ 39329 h 289799"/>
              <a:gd name="connsiteX7" fmla="*/ 953729 w 3333136"/>
              <a:gd name="connsiteY7" fmla="*/ 19665 h 289799"/>
              <a:gd name="connsiteX8" fmla="*/ 1081549 w 3333136"/>
              <a:gd name="connsiteY8" fmla="*/ 0 h 289799"/>
              <a:gd name="connsiteX9" fmla="*/ 1533833 w 3333136"/>
              <a:gd name="connsiteY9" fmla="*/ 9833 h 289799"/>
              <a:gd name="connsiteX10" fmla="*/ 1573162 w 3333136"/>
              <a:gd name="connsiteY10" fmla="*/ 19665 h 289799"/>
              <a:gd name="connsiteX11" fmla="*/ 1622323 w 3333136"/>
              <a:gd name="connsiteY11" fmla="*/ 29497 h 289799"/>
              <a:gd name="connsiteX12" fmla="*/ 1730478 w 3333136"/>
              <a:gd name="connsiteY12" fmla="*/ 58994 h 289799"/>
              <a:gd name="connsiteX13" fmla="*/ 1789471 w 3333136"/>
              <a:gd name="connsiteY13" fmla="*/ 68826 h 289799"/>
              <a:gd name="connsiteX14" fmla="*/ 1887794 w 3333136"/>
              <a:gd name="connsiteY14" fmla="*/ 98323 h 289799"/>
              <a:gd name="connsiteX15" fmla="*/ 1946787 w 3333136"/>
              <a:gd name="connsiteY15" fmla="*/ 117987 h 289799"/>
              <a:gd name="connsiteX16" fmla="*/ 2143433 w 3333136"/>
              <a:gd name="connsiteY16" fmla="*/ 157317 h 289799"/>
              <a:gd name="connsiteX17" fmla="*/ 2241755 w 3333136"/>
              <a:gd name="connsiteY17" fmla="*/ 176981 h 289799"/>
              <a:gd name="connsiteX18" fmla="*/ 2458065 w 3333136"/>
              <a:gd name="connsiteY18" fmla="*/ 216310 h 289799"/>
              <a:gd name="connsiteX19" fmla="*/ 2556387 w 3333136"/>
              <a:gd name="connsiteY19" fmla="*/ 226142 h 289799"/>
              <a:gd name="connsiteX20" fmla="*/ 2644878 w 3333136"/>
              <a:gd name="connsiteY20" fmla="*/ 235975 h 289799"/>
              <a:gd name="connsiteX21" fmla="*/ 2713704 w 3333136"/>
              <a:gd name="connsiteY21" fmla="*/ 255639 h 289799"/>
              <a:gd name="connsiteX22" fmla="*/ 3048000 w 3333136"/>
              <a:gd name="connsiteY22" fmla="*/ 275304 h 289799"/>
              <a:gd name="connsiteX23" fmla="*/ 3333136 w 3333136"/>
              <a:gd name="connsiteY23" fmla="*/ 285136 h 28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33136" h="289799">
                <a:moveTo>
                  <a:pt x="0" y="196646"/>
                </a:moveTo>
                <a:lnTo>
                  <a:pt x="167149" y="176981"/>
                </a:lnTo>
                <a:cubicBezTo>
                  <a:pt x="199885" y="173344"/>
                  <a:pt x="232822" y="171502"/>
                  <a:pt x="265471" y="167149"/>
                </a:cubicBezTo>
                <a:cubicBezTo>
                  <a:pt x="282036" y="164940"/>
                  <a:pt x="298089" y="159680"/>
                  <a:pt x="314633" y="157317"/>
                </a:cubicBezTo>
                <a:cubicBezTo>
                  <a:pt x="481511" y="133477"/>
                  <a:pt x="435056" y="148035"/>
                  <a:pt x="570271" y="117987"/>
                </a:cubicBezTo>
                <a:cubicBezTo>
                  <a:pt x="667973" y="96275"/>
                  <a:pt x="626566" y="102447"/>
                  <a:pt x="717755" y="78658"/>
                </a:cubicBezTo>
                <a:cubicBezTo>
                  <a:pt x="770057" y="65014"/>
                  <a:pt x="822632" y="52439"/>
                  <a:pt x="875071" y="39329"/>
                </a:cubicBezTo>
                <a:cubicBezTo>
                  <a:pt x="901290" y="32774"/>
                  <a:pt x="927070" y="24108"/>
                  <a:pt x="953729" y="19665"/>
                </a:cubicBezTo>
                <a:cubicBezTo>
                  <a:pt x="1035583" y="6023"/>
                  <a:pt x="992987" y="12653"/>
                  <a:pt x="1081549" y="0"/>
                </a:cubicBezTo>
                <a:lnTo>
                  <a:pt x="1533833" y="9833"/>
                </a:lnTo>
                <a:cubicBezTo>
                  <a:pt x="1547335" y="10373"/>
                  <a:pt x="1559971" y="16734"/>
                  <a:pt x="1573162" y="19665"/>
                </a:cubicBezTo>
                <a:cubicBezTo>
                  <a:pt x="1589476" y="23290"/>
                  <a:pt x="1606110" y="25444"/>
                  <a:pt x="1622323" y="29497"/>
                </a:cubicBezTo>
                <a:cubicBezTo>
                  <a:pt x="1658576" y="38560"/>
                  <a:pt x="1694103" y="50435"/>
                  <a:pt x="1730478" y="58994"/>
                </a:cubicBezTo>
                <a:cubicBezTo>
                  <a:pt x="1749884" y="63560"/>
                  <a:pt x="1770131" y="63991"/>
                  <a:pt x="1789471" y="68826"/>
                </a:cubicBezTo>
                <a:cubicBezTo>
                  <a:pt x="1822667" y="77125"/>
                  <a:pt x="1855134" y="88117"/>
                  <a:pt x="1887794" y="98323"/>
                </a:cubicBezTo>
                <a:cubicBezTo>
                  <a:pt x="1907578" y="104506"/>
                  <a:pt x="1926590" y="113326"/>
                  <a:pt x="1946787" y="117987"/>
                </a:cubicBezTo>
                <a:cubicBezTo>
                  <a:pt x="2011922" y="133018"/>
                  <a:pt x="2077884" y="144207"/>
                  <a:pt x="2143433" y="157317"/>
                </a:cubicBezTo>
                <a:lnTo>
                  <a:pt x="2241755" y="176981"/>
                </a:lnTo>
                <a:cubicBezTo>
                  <a:pt x="2318931" y="192416"/>
                  <a:pt x="2378976" y="205525"/>
                  <a:pt x="2458065" y="216310"/>
                </a:cubicBezTo>
                <a:cubicBezTo>
                  <a:pt x="2490700" y="220760"/>
                  <a:pt x="2523631" y="222694"/>
                  <a:pt x="2556387" y="226142"/>
                </a:cubicBezTo>
                <a:lnTo>
                  <a:pt x="2644878" y="235975"/>
                </a:lnTo>
                <a:cubicBezTo>
                  <a:pt x="2667820" y="242530"/>
                  <a:pt x="2690374" y="250640"/>
                  <a:pt x="2713704" y="255639"/>
                </a:cubicBezTo>
                <a:cubicBezTo>
                  <a:pt x="2807128" y="275658"/>
                  <a:pt x="3000332" y="273538"/>
                  <a:pt x="3048000" y="275304"/>
                </a:cubicBezTo>
                <a:cubicBezTo>
                  <a:pt x="3174293" y="300561"/>
                  <a:pt x="3080450" y="285136"/>
                  <a:pt x="3333136" y="285136"/>
                </a:cubicBezTo>
              </a:path>
            </a:pathLst>
          </a:custGeom>
          <a:noFill/>
          <a:ln>
            <a:prstDash val="lgDash"/>
            <a:headEnd type="none" w="med" len="med"/>
            <a:tailEnd type="triangle" w="lg" len="med"/>
            <a:extLst>
              <a:ext uri="{C807C97D-BFC1-408E-A445-0C87EB9F89A2}">
                <ask:lineSketchStyleProps xmlns:ask="http://schemas.microsoft.com/office/drawing/2018/sketchyshapes" sd="1219033472">
                  <a:custGeom>
                    <a:avLst/>
                    <a:gdLst>
                      <a:gd name="connsiteX0" fmla="*/ 0 w 3220151"/>
                      <a:gd name="connsiteY0" fmla="*/ 207453 h 305726"/>
                      <a:gd name="connsiteX1" fmla="*/ 161483 w 3220151"/>
                      <a:gd name="connsiteY1" fmla="*/ 186707 h 305726"/>
                      <a:gd name="connsiteX2" fmla="*/ 256472 w 3220151"/>
                      <a:gd name="connsiteY2" fmla="*/ 176335 h 305726"/>
                      <a:gd name="connsiteX3" fmla="*/ 303967 w 3220151"/>
                      <a:gd name="connsiteY3" fmla="*/ 165962 h 305726"/>
                      <a:gd name="connsiteX4" fmla="*/ 550940 w 3220151"/>
                      <a:gd name="connsiteY4" fmla="*/ 124471 h 305726"/>
                      <a:gd name="connsiteX5" fmla="*/ 693424 w 3220151"/>
                      <a:gd name="connsiteY5" fmla="*/ 82980 h 305726"/>
                      <a:gd name="connsiteX6" fmla="*/ 845408 w 3220151"/>
                      <a:gd name="connsiteY6" fmla="*/ 41490 h 305726"/>
                      <a:gd name="connsiteX7" fmla="*/ 921399 w 3220151"/>
                      <a:gd name="connsiteY7" fmla="*/ 20745 h 305726"/>
                      <a:gd name="connsiteX8" fmla="*/ 1044887 w 3220151"/>
                      <a:gd name="connsiteY8" fmla="*/ 0 h 305726"/>
                      <a:gd name="connsiteX9" fmla="*/ 1481839 w 3220151"/>
                      <a:gd name="connsiteY9" fmla="*/ 10373 h 305726"/>
                      <a:gd name="connsiteX10" fmla="*/ 1519835 w 3220151"/>
                      <a:gd name="connsiteY10" fmla="*/ 20745 h 305726"/>
                      <a:gd name="connsiteX11" fmla="*/ 1567330 w 3220151"/>
                      <a:gd name="connsiteY11" fmla="*/ 31118 h 305726"/>
                      <a:gd name="connsiteX12" fmla="*/ 1671819 w 3220151"/>
                      <a:gd name="connsiteY12" fmla="*/ 62236 h 305726"/>
                      <a:gd name="connsiteX13" fmla="*/ 1728812 w 3220151"/>
                      <a:gd name="connsiteY13" fmla="*/ 72608 h 305726"/>
                      <a:gd name="connsiteX14" fmla="*/ 1823802 w 3220151"/>
                      <a:gd name="connsiteY14" fmla="*/ 103726 h 305726"/>
                      <a:gd name="connsiteX15" fmla="*/ 1880795 w 3220151"/>
                      <a:gd name="connsiteY15" fmla="*/ 124471 h 305726"/>
                      <a:gd name="connsiteX16" fmla="*/ 2070775 w 3220151"/>
                      <a:gd name="connsiteY16" fmla="*/ 165962 h 305726"/>
                      <a:gd name="connsiteX17" fmla="*/ 2165765 w 3220151"/>
                      <a:gd name="connsiteY17" fmla="*/ 186707 h 305726"/>
                      <a:gd name="connsiteX18" fmla="*/ 2374742 w 3220151"/>
                      <a:gd name="connsiteY18" fmla="*/ 228198 h 305726"/>
                      <a:gd name="connsiteX19" fmla="*/ 2469731 w 3220151"/>
                      <a:gd name="connsiteY19" fmla="*/ 238570 h 305726"/>
                      <a:gd name="connsiteX20" fmla="*/ 2555223 w 3220151"/>
                      <a:gd name="connsiteY20" fmla="*/ 248943 h 305726"/>
                      <a:gd name="connsiteX21" fmla="*/ 2621716 w 3220151"/>
                      <a:gd name="connsiteY21" fmla="*/ 269688 h 305726"/>
                      <a:gd name="connsiteX22" fmla="*/ 2944680 w 3220151"/>
                      <a:gd name="connsiteY22" fmla="*/ 290434 h 305726"/>
                      <a:gd name="connsiteX23" fmla="*/ 3220151 w 3220151"/>
                      <a:gd name="connsiteY23" fmla="*/ 300806 h 30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220151" h="305726" extrusionOk="0">
                        <a:moveTo>
                          <a:pt x="0" y="207453"/>
                        </a:moveTo>
                        <a:cubicBezTo>
                          <a:pt x="60265" y="207079"/>
                          <a:pt x="125413" y="193358"/>
                          <a:pt x="161483" y="186707"/>
                        </a:cubicBezTo>
                        <a:cubicBezTo>
                          <a:pt x="195327" y="183309"/>
                          <a:pt x="223682" y="175579"/>
                          <a:pt x="256472" y="176335"/>
                        </a:cubicBezTo>
                        <a:cubicBezTo>
                          <a:pt x="271374" y="173167"/>
                          <a:pt x="287236" y="169990"/>
                          <a:pt x="303967" y="165962"/>
                        </a:cubicBezTo>
                        <a:cubicBezTo>
                          <a:pt x="465270" y="147235"/>
                          <a:pt x="417556" y="147306"/>
                          <a:pt x="550940" y="124471"/>
                        </a:cubicBezTo>
                        <a:cubicBezTo>
                          <a:pt x="647956" y="91848"/>
                          <a:pt x="604506" y="107540"/>
                          <a:pt x="693424" y="82980"/>
                        </a:cubicBezTo>
                        <a:cubicBezTo>
                          <a:pt x="750064" y="58642"/>
                          <a:pt x="792687" y="57129"/>
                          <a:pt x="845408" y="41490"/>
                        </a:cubicBezTo>
                        <a:cubicBezTo>
                          <a:pt x="874311" y="35212"/>
                          <a:pt x="894446" y="27414"/>
                          <a:pt x="921399" y="20745"/>
                        </a:cubicBezTo>
                        <a:cubicBezTo>
                          <a:pt x="995906" y="1050"/>
                          <a:pt x="960789" y="23463"/>
                          <a:pt x="1044887" y="0"/>
                        </a:cubicBezTo>
                        <a:cubicBezTo>
                          <a:pt x="1249094" y="14943"/>
                          <a:pt x="1314532" y="13445"/>
                          <a:pt x="1481839" y="10373"/>
                        </a:cubicBezTo>
                        <a:cubicBezTo>
                          <a:pt x="1495163" y="13838"/>
                          <a:pt x="1507320" y="18005"/>
                          <a:pt x="1519835" y="20745"/>
                        </a:cubicBezTo>
                        <a:cubicBezTo>
                          <a:pt x="1536168" y="25269"/>
                          <a:pt x="1552869" y="25789"/>
                          <a:pt x="1567330" y="31118"/>
                        </a:cubicBezTo>
                        <a:cubicBezTo>
                          <a:pt x="1602918" y="38027"/>
                          <a:pt x="1628940" y="54476"/>
                          <a:pt x="1671819" y="62236"/>
                        </a:cubicBezTo>
                        <a:cubicBezTo>
                          <a:pt x="1688918" y="65915"/>
                          <a:pt x="1707089" y="67291"/>
                          <a:pt x="1728812" y="72608"/>
                        </a:cubicBezTo>
                        <a:cubicBezTo>
                          <a:pt x="1757614" y="74700"/>
                          <a:pt x="1792689" y="87003"/>
                          <a:pt x="1823802" y="103726"/>
                        </a:cubicBezTo>
                        <a:cubicBezTo>
                          <a:pt x="1841620" y="111005"/>
                          <a:pt x="1860315" y="121284"/>
                          <a:pt x="1880795" y="124471"/>
                        </a:cubicBezTo>
                        <a:cubicBezTo>
                          <a:pt x="1944895" y="141200"/>
                          <a:pt x="2007059" y="161375"/>
                          <a:pt x="2070775" y="165962"/>
                        </a:cubicBezTo>
                        <a:cubicBezTo>
                          <a:pt x="2106836" y="171293"/>
                          <a:pt x="2140861" y="179382"/>
                          <a:pt x="2165765" y="186707"/>
                        </a:cubicBezTo>
                        <a:cubicBezTo>
                          <a:pt x="2241838" y="217355"/>
                          <a:pt x="2302249" y="215503"/>
                          <a:pt x="2374742" y="228198"/>
                        </a:cubicBezTo>
                        <a:cubicBezTo>
                          <a:pt x="2406058" y="227156"/>
                          <a:pt x="2445035" y="236381"/>
                          <a:pt x="2469731" y="238570"/>
                        </a:cubicBezTo>
                        <a:cubicBezTo>
                          <a:pt x="2505153" y="244727"/>
                          <a:pt x="2526792" y="242247"/>
                          <a:pt x="2555223" y="248943"/>
                        </a:cubicBezTo>
                        <a:cubicBezTo>
                          <a:pt x="2575127" y="260395"/>
                          <a:pt x="2597877" y="262690"/>
                          <a:pt x="2621716" y="269688"/>
                        </a:cubicBezTo>
                        <a:cubicBezTo>
                          <a:pt x="2713445" y="291268"/>
                          <a:pt x="2898385" y="283528"/>
                          <a:pt x="2944680" y="290434"/>
                        </a:cubicBezTo>
                        <a:cubicBezTo>
                          <a:pt x="3080171" y="325570"/>
                          <a:pt x="2962756" y="303719"/>
                          <a:pt x="3220151" y="300806"/>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a:p>
        </p:txBody>
      </p:sp>
      <p:grpSp>
        <p:nvGrpSpPr>
          <p:cNvPr id="120" name="Gruppieren 269">
            <a:extLst>
              <a:ext uri="{FF2B5EF4-FFF2-40B4-BE49-F238E27FC236}">
                <a16:creationId xmlns:a16="http://schemas.microsoft.com/office/drawing/2014/main" id="{A738861C-A5D5-34D0-85CF-51FD1F064393}"/>
              </a:ext>
              <a:ext uri="{C183D7F6-B498-43B3-948B-1728B52AA6E4}">
                <adec:decorative xmlns:adec="http://schemas.microsoft.com/office/drawing/2017/decorative" val="1"/>
              </a:ext>
            </a:extLst>
          </p:cNvPr>
          <p:cNvGrpSpPr>
            <a:grpSpLocks noChangeAspect="1"/>
          </p:cNvGrpSpPr>
          <p:nvPr/>
        </p:nvGrpSpPr>
        <p:grpSpPr bwMode="gray">
          <a:xfrm>
            <a:off x="7393384" y="1690761"/>
            <a:ext cx="603603" cy="480230"/>
            <a:chOff x="7230825" y="5801578"/>
            <a:chExt cx="541734" cy="431006"/>
          </a:xfrm>
          <a:solidFill>
            <a:srgbClr val="76B49F"/>
          </a:solidFill>
        </p:grpSpPr>
        <p:sp>
          <p:nvSpPr>
            <p:cNvPr id="139" name="Freeform 1546">
              <a:extLst>
                <a:ext uri="{FF2B5EF4-FFF2-40B4-BE49-F238E27FC236}">
                  <a16:creationId xmlns:a16="http://schemas.microsoft.com/office/drawing/2014/main" id="{CF62872A-6A4F-E4F7-4AD7-DBC7CF7BE7BB}"/>
                </a:ext>
              </a:extLst>
            </p:cNvPr>
            <p:cNvSpPr>
              <a:spLocks noEditPoints="1"/>
            </p:cNvSpPr>
            <p:nvPr/>
          </p:nvSpPr>
          <p:spPr bwMode="gray">
            <a:xfrm>
              <a:off x="7629684" y="5908734"/>
              <a:ext cx="142875" cy="323850"/>
            </a:xfrm>
            <a:custGeom>
              <a:avLst/>
              <a:gdLst>
                <a:gd name="T0" fmla="*/ 40 w 51"/>
                <a:gd name="T1" fmla="*/ 0 h 115"/>
                <a:gd name="T2" fmla="*/ 0 w 51"/>
                <a:gd name="T3" fmla="*/ 0 h 115"/>
                <a:gd name="T4" fmla="*/ 0 w 51"/>
                <a:gd name="T5" fmla="*/ 115 h 115"/>
                <a:gd name="T6" fmla="*/ 51 w 51"/>
                <a:gd name="T7" fmla="*/ 115 h 115"/>
                <a:gd name="T8" fmla="*/ 51 w 51"/>
                <a:gd name="T9" fmla="*/ 11 h 115"/>
                <a:gd name="T10" fmla="*/ 40 w 51"/>
                <a:gd name="T11" fmla="*/ 0 h 115"/>
                <a:gd name="T12" fmla="*/ 34 w 51"/>
                <a:gd name="T13" fmla="*/ 91 h 115"/>
                <a:gd name="T14" fmla="*/ 16 w 51"/>
                <a:gd name="T15" fmla="*/ 91 h 115"/>
                <a:gd name="T16" fmla="*/ 16 w 51"/>
                <a:gd name="T17" fmla="*/ 74 h 115"/>
                <a:gd name="T18" fmla="*/ 34 w 51"/>
                <a:gd name="T19" fmla="*/ 74 h 115"/>
                <a:gd name="T20" fmla="*/ 34 w 51"/>
                <a:gd name="T21" fmla="*/ 91 h 115"/>
                <a:gd name="T22" fmla="*/ 34 w 51"/>
                <a:gd name="T23" fmla="*/ 62 h 115"/>
                <a:gd name="T24" fmla="*/ 16 w 51"/>
                <a:gd name="T25" fmla="*/ 62 h 115"/>
                <a:gd name="T26" fmla="*/ 16 w 51"/>
                <a:gd name="T27" fmla="*/ 45 h 115"/>
                <a:gd name="T28" fmla="*/ 34 w 51"/>
                <a:gd name="T29" fmla="*/ 45 h 115"/>
                <a:gd name="T30" fmla="*/ 34 w 51"/>
                <a:gd name="T31" fmla="*/ 62 h 115"/>
                <a:gd name="T32" fmla="*/ 34 w 51"/>
                <a:gd name="T33" fmla="*/ 35 h 115"/>
                <a:gd name="T34" fmla="*/ 16 w 51"/>
                <a:gd name="T35" fmla="*/ 35 h 115"/>
                <a:gd name="T36" fmla="*/ 16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40" y="0"/>
                  </a:moveTo>
                  <a:cubicBezTo>
                    <a:pt x="0" y="0"/>
                    <a:pt x="0" y="0"/>
                    <a:pt x="0" y="0"/>
                  </a:cubicBezTo>
                  <a:cubicBezTo>
                    <a:pt x="0" y="115"/>
                    <a:pt x="0" y="115"/>
                    <a:pt x="0" y="115"/>
                  </a:cubicBezTo>
                  <a:cubicBezTo>
                    <a:pt x="51" y="115"/>
                    <a:pt x="51" y="115"/>
                    <a:pt x="51" y="115"/>
                  </a:cubicBezTo>
                  <a:cubicBezTo>
                    <a:pt x="51" y="11"/>
                    <a:pt x="51" y="11"/>
                    <a:pt x="51" y="11"/>
                  </a:cubicBezTo>
                  <a:cubicBezTo>
                    <a:pt x="51" y="5"/>
                    <a:pt x="46" y="0"/>
                    <a:pt x="40" y="0"/>
                  </a:cubicBezTo>
                  <a:close/>
                  <a:moveTo>
                    <a:pt x="34" y="91"/>
                  </a:moveTo>
                  <a:cubicBezTo>
                    <a:pt x="16" y="91"/>
                    <a:pt x="16" y="91"/>
                    <a:pt x="16" y="91"/>
                  </a:cubicBezTo>
                  <a:cubicBezTo>
                    <a:pt x="16" y="74"/>
                    <a:pt x="16" y="74"/>
                    <a:pt x="16" y="74"/>
                  </a:cubicBezTo>
                  <a:cubicBezTo>
                    <a:pt x="34" y="74"/>
                    <a:pt x="34" y="74"/>
                    <a:pt x="34" y="74"/>
                  </a:cubicBezTo>
                  <a:lnTo>
                    <a:pt x="34" y="91"/>
                  </a:lnTo>
                  <a:close/>
                  <a:moveTo>
                    <a:pt x="34" y="62"/>
                  </a:moveTo>
                  <a:cubicBezTo>
                    <a:pt x="16" y="62"/>
                    <a:pt x="16" y="62"/>
                    <a:pt x="16" y="62"/>
                  </a:cubicBezTo>
                  <a:cubicBezTo>
                    <a:pt x="16" y="45"/>
                    <a:pt x="16" y="45"/>
                    <a:pt x="16" y="45"/>
                  </a:cubicBezTo>
                  <a:cubicBezTo>
                    <a:pt x="34" y="45"/>
                    <a:pt x="34" y="45"/>
                    <a:pt x="34" y="45"/>
                  </a:cubicBezTo>
                  <a:lnTo>
                    <a:pt x="34" y="62"/>
                  </a:lnTo>
                  <a:close/>
                  <a:moveTo>
                    <a:pt x="34" y="35"/>
                  </a:moveTo>
                  <a:cubicBezTo>
                    <a:pt x="16" y="35"/>
                    <a:pt x="16" y="35"/>
                    <a:pt x="16" y="35"/>
                  </a:cubicBezTo>
                  <a:cubicBezTo>
                    <a:pt x="16" y="18"/>
                    <a:pt x="16" y="18"/>
                    <a:pt x="16"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0" name="Freeform 1547">
              <a:extLst>
                <a:ext uri="{FF2B5EF4-FFF2-40B4-BE49-F238E27FC236}">
                  <a16:creationId xmlns:a16="http://schemas.microsoft.com/office/drawing/2014/main" id="{87C4F373-56FB-50EB-6CCC-792F927472E9}"/>
                </a:ext>
              </a:extLst>
            </p:cNvPr>
            <p:cNvSpPr>
              <a:spLocks noEditPoints="1"/>
            </p:cNvSpPr>
            <p:nvPr/>
          </p:nvSpPr>
          <p:spPr bwMode="gray">
            <a:xfrm>
              <a:off x="7387988" y="5801578"/>
              <a:ext cx="227410" cy="431006"/>
            </a:xfrm>
            <a:custGeom>
              <a:avLst/>
              <a:gdLst>
                <a:gd name="T0" fmla="*/ 71 w 81"/>
                <a:gd name="T1" fmla="*/ 0 h 153"/>
                <a:gd name="T2" fmla="*/ 10 w 81"/>
                <a:gd name="T3" fmla="*/ 0 h 153"/>
                <a:gd name="T4" fmla="*/ 0 w 81"/>
                <a:gd name="T5" fmla="*/ 10 h 153"/>
                <a:gd name="T6" fmla="*/ 0 w 81"/>
                <a:gd name="T7" fmla="*/ 153 h 153"/>
                <a:gd name="T8" fmla="*/ 30 w 81"/>
                <a:gd name="T9" fmla="*/ 153 h 153"/>
                <a:gd name="T10" fmla="*/ 30 w 81"/>
                <a:gd name="T11" fmla="*/ 117 h 153"/>
                <a:gd name="T12" fmla="*/ 51 w 81"/>
                <a:gd name="T13" fmla="*/ 117 h 153"/>
                <a:gd name="T14" fmla="*/ 51 w 81"/>
                <a:gd name="T15" fmla="*/ 153 h 153"/>
                <a:gd name="T16" fmla="*/ 81 w 81"/>
                <a:gd name="T17" fmla="*/ 153 h 153"/>
                <a:gd name="T18" fmla="*/ 81 w 81"/>
                <a:gd name="T19" fmla="*/ 10 h 153"/>
                <a:gd name="T20" fmla="*/ 71 w 81"/>
                <a:gd name="T21" fmla="*/ 0 h 153"/>
                <a:gd name="T22" fmla="*/ 34 w 81"/>
                <a:gd name="T23" fmla="*/ 97 h 153"/>
                <a:gd name="T24" fmla="*/ 17 w 81"/>
                <a:gd name="T25" fmla="*/ 97 h 153"/>
                <a:gd name="T26" fmla="*/ 17 w 81"/>
                <a:gd name="T27" fmla="*/ 80 h 153"/>
                <a:gd name="T28" fmla="*/ 34 w 81"/>
                <a:gd name="T29" fmla="*/ 80 h 153"/>
                <a:gd name="T30" fmla="*/ 34 w 81"/>
                <a:gd name="T31" fmla="*/ 97 h 153"/>
                <a:gd name="T32" fmla="*/ 34 w 81"/>
                <a:gd name="T33" fmla="*/ 68 h 153"/>
                <a:gd name="T34" fmla="*/ 17 w 81"/>
                <a:gd name="T35" fmla="*/ 68 h 153"/>
                <a:gd name="T36" fmla="*/ 17 w 81"/>
                <a:gd name="T37" fmla="*/ 52 h 153"/>
                <a:gd name="T38" fmla="*/ 34 w 81"/>
                <a:gd name="T39" fmla="*/ 52 h 153"/>
                <a:gd name="T40" fmla="*/ 34 w 81"/>
                <a:gd name="T41" fmla="*/ 68 h 153"/>
                <a:gd name="T42" fmla="*/ 34 w 81"/>
                <a:gd name="T43" fmla="*/ 41 h 153"/>
                <a:gd name="T44" fmla="*/ 17 w 81"/>
                <a:gd name="T45" fmla="*/ 41 h 153"/>
                <a:gd name="T46" fmla="*/ 17 w 81"/>
                <a:gd name="T47" fmla="*/ 24 h 153"/>
                <a:gd name="T48" fmla="*/ 34 w 81"/>
                <a:gd name="T49" fmla="*/ 24 h 153"/>
                <a:gd name="T50" fmla="*/ 34 w 81"/>
                <a:gd name="T51" fmla="*/ 41 h 153"/>
                <a:gd name="T52" fmla="*/ 64 w 81"/>
                <a:gd name="T53" fmla="*/ 97 h 153"/>
                <a:gd name="T54" fmla="*/ 47 w 81"/>
                <a:gd name="T55" fmla="*/ 97 h 153"/>
                <a:gd name="T56" fmla="*/ 47 w 81"/>
                <a:gd name="T57" fmla="*/ 80 h 153"/>
                <a:gd name="T58" fmla="*/ 64 w 81"/>
                <a:gd name="T59" fmla="*/ 80 h 153"/>
                <a:gd name="T60" fmla="*/ 64 w 81"/>
                <a:gd name="T61" fmla="*/ 97 h 153"/>
                <a:gd name="T62" fmla="*/ 64 w 81"/>
                <a:gd name="T63" fmla="*/ 69 h 153"/>
                <a:gd name="T64" fmla="*/ 47 w 81"/>
                <a:gd name="T65" fmla="*/ 69 h 153"/>
                <a:gd name="T66" fmla="*/ 47 w 81"/>
                <a:gd name="T67" fmla="*/ 52 h 153"/>
                <a:gd name="T68" fmla="*/ 64 w 81"/>
                <a:gd name="T69" fmla="*/ 52 h 153"/>
                <a:gd name="T70" fmla="*/ 64 w 81"/>
                <a:gd name="T71" fmla="*/ 69 h 153"/>
                <a:gd name="T72" fmla="*/ 64 w 81"/>
                <a:gd name="T73" fmla="*/ 41 h 153"/>
                <a:gd name="T74" fmla="*/ 47 w 81"/>
                <a:gd name="T75" fmla="*/ 41 h 153"/>
                <a:gd name="T76" fmla="*/ 47 w 81"/>
                <a:gd name="T77" fmla="*/ 24 h 153"/>
                <a:gd name="T78" fmla="*/ 64 w 81"/>
                <a:gd name="T79" fmla="*/ 24 h 153"/>
                <a:gd name="T80" fmla="*/ 64 w 81"/>
                <a:gd name="T81"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153">
                  <a:moveTo>
                    <a:pt x="71" y="0"/>
                  </a:moveTo>
                  <a:cubicBezTo>
                    <a:pt x="10" y="0"/>
                    <a:pt x="10" y="0"/>
                    <a:pt x="10" y="0"/>
                  </a:cubicBezTo>
                  <a:cubicBezTo>
                    <a:pt x="4" y="0"/>
                    <a:pt x="0" y="5"/>
                    <a:pt x="0" y="10"/>
                  </a:cubicBezTo>
                  <a:cubicBezTo>
                    <a:pt x="0" y="153"/>
                    <a:pt x="0" y="153"/>
                    <a:pt x="0" y="153"/>
                  </a:cubicBezTo>
                  <a:cubicBezTo>
                    <a:pt x="30" y="153"/>
                    <a:pt x="30" y="153"/>
                    <a:pt x="30" y="153"/>
                  </a:cubicBezTo>
                  <a:cubicBezTo>
                    <a:pt x="30" y="117"/>
                    <a:pt x="30" y="117"/>
                    <a:pt x="30" y="117"/>
                  </a:cubicBezTo>
                  <a:cubicBezTo>
                    <a:pt x="51" y="117"/>
                    <a:pt x="51" y="117"/>
                    <a:pt x="51" y="117"/>
                  </a:cubicBezTo>
                  <a:cubicBezTo>
                    <a:pt x="51" y="153"/>
                    <a:pt x="51" y="153"/>
                    <a:pt x="51" y="153"/>
                  </a:cubicBezTo>
                  <a:cubicBezTo>
                    <a:pt x="81" y="153"/>
                    <a:pt x="81" y="153"/>
                    <a:pt x="81" y="153"/>
                  </a:cubicBezTo>
                  <a:cubicBezTo>
                    <a:pt x="81" y="10"/>
                    <a:pt x="81" y="10"/>
                    <a:pt x="81" y="10"/>
                  </a:cubicBezTo>
                  <a:cubicBezTo>
                    <a:pt x="81" y="5"/>
                    <a:pt x="76" y="0"/>
                    <a:pt x="71" y="0"/>
                  </a:cubicBezTo>
                  <a:close/>
                  <a:moveTo>
                    <a:pt x="34" y="97"/>
                  </a:moveTo>
                  <a:cubicBezTo>
                    <a:pt x="17" y="97"/>
                    <a:pt x="17" y="97"/>
                    <a:pt x="17" y="97"/>
                  </a:cubicBezTo>
                  <a:cubicBezTo>
                    <a:pt x="17" y="80"/>
                    <a:pt x="17" y="80"/>
                    <a:pt x="17" y="80"/>
                  </a:cubicBezTo>
                  <a:cubicBezTo>
                    <a:pt x="34" y="80"/>
                    <a:pt x="34" y="80"/>
                    <a:pt x="34" y="80"/>
                  </a:cubicBezTo>
                  <a:lnTo>
                    <a:pt x="34" y="97"/>
                  </a:lnTo>
                  <a:close/>
                  <a:moveTo>
                    <a:pt x="34" y="68"/>
                  </a:moveTo>
                  <a:cubicBezTo>
                    <a:pt x="17" y="68"/>
                    <a:pt x="17" y="68"/>
                    <a:pt x="17" y="68"/>
                  </a:cubicBezTo>
                  <a:cubicBezTo>
                    <a:pt x="17" y="52"/>
                    <a:pt x="17" y="52"/>
                    <a:pt x="17" y="52"/>
                  </a:cubicBezTo>
                  <a:cubicBezTo>
                    <a:pt x="34" y="52"/>
                    <a:pt x="34" y="52"/>
                    <a:pt x="34" y="52"/>
                  </a:cubicBezTo>
                  <a:lnTo>
                    <a:pt x="34" y="68"/>
                  </a:lnTo>
                  <a:close/>
                  <a:moveTo>
                    <a:pt x="34" y="41"/>
                  </a:moveTo>
                  <a:cubicBezTo>
                    <a:pt x="17" y="41"/>
                    <a:pt x="17" y="41"/>
                    <a:pt x="17" y="41"/>
                  </a:cubicBezTo>
                  <a:cubicBezTo>
                    <a:pt x="17" y="24"/>
                    <a:pt x="17" y="24"/>
                    <a:pt x="17" y="24"/>
                  </a:cubicBezTo>
                  <a:cubicBezTo>
                    <a:pt x="34" y="24"/>
                    <a:pt x="34" y="24"/>
                    <a:pt x="34" y="24"/>
                  </a:cubicBezTo>
                  <a:lnTo>
                    <a:pt x="34" y="41"/>
                  </a:lnTo>
                  <a:close/>
                  <a:moveTo>
                    <a:pt x="64" y="97"/>
                  </a:moveTo>
                  <a:cubicBezTo>
                    <a:pt x="47" y="97"/>
                    <a:pt x="47" y="97"/>
                    <a:pt x="47" y="97"/>
                  </a:cubicBezTo>
                  <a:cubicBezTo>
                    <a:pt x="47" y="80"/>
                    <a:pt x="47" y="80"/>
                    <a:pt x="47" y="80"/>
                  </a:cubicBezTo>
                  <a:cubicBezTo>
                    <a:pt x="64" y="80"/>
                    <a:pt x="64" y="80"/>
                    <a:pt x="64" y="80"/>
                  </a:cubicBezTo>
                  <a:lnTo>
                    <a:pt x="64" y="97"/>
                  </a:lnTo>
                  <a:close/>
                  <a:moveTo>
                    <a:pt x="64" y="69"/>
                  </a:moveTo>
                  <a:cubicBezTo>
                    <a:pt x="47" y="69"/>
                    <a:pt x="47" y="69"/>
                    <a:pt x="47" y="69"/>
                  </a:cubicBezTo>
                  <a:cubicBezTo>
                    <a:pt x="47" y="52"/>
                    <a:pt x="47" y="52"/>
                    <a:pt x="47" y="52"/>
                  </a:cubicBezTo>
                  <a:cubicBezTo>
                    <a:pt x="64" y="52"/>
                    <a:pt x="64" y="52"/>
                    <a:pt x="64" y="52"/>
                  </a:cubicBezTo>
                  <a:lnTo>
                    <a:pt x="64" y="69"/>
                  </a:lnTo>
                  <a:close/>
                  <a:moveTo>
                    <a:pt x="64" y="41"/>
                  </a:moveTo>
                  <a:cubicBezTo>
                    <a:pt x="47" y="41"/>
                    <a:pt x="47" y="41"/>
                    <a:pt x="47" y="41"/>
                  </a:cubicBezTo>
                  <a:cubicBezTo>
                    <a:pt x="47" y="24"/>
                    <a:pt x="47" y="24"/>
                    <a:pt x="47" y="24"/>
                  </a:cubicBezTo>
                  <a:cubicBezTo>
                    <a:pt x="64" y="24"/>
                    <a:pt x="64" y="24"/>
                    <a:pt x="64" y="24"/>
                  </a:cubicBezTo>
                  <a:lnTo>
                    <a:pt x="64"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1" name="Freeform 1548">
              <a:extLst>
                <a:ext uri="{FF2B5EF4-FFF2-40B4-BE49-F238E27FC236}">
                  <a16:creationId xmlns:a16="http://schemas.microsoft.com/office/drawing/2014/main" id="{17FBC5D0-2E45-786B-E37F-05FC411779FD}"/>
                </a:ext>
              </a:extLst>
            </p:cNvPr>
            <p:cNvSpPr>
              <a:spLocks noEditPoints="1"/>
            </p:cNvSpPr>
            <p:nvPr/>
          </p:nvSpPr>
          <p:spPr bwMode="gray">
            <a:xfrm>
              <a:off x="7230825" y="5908734"/>
              <a:ext cx="142875" cy="323850"/>
            </a:xfrm>
            <a:custGeom>
              <a:avLst/>
              <a:gdLst>
                <a:gd name="T0" fmla="*/ 10 w 51"/>
                <a:gd name="T1" fmla="*/ 0 h 115"/>
                <a:gd name="T2" fmla="*/ 0 w 51"/>
                <a:gd name="T3" fmla="*/ 11 h 115"/>
                <a:gd name="T4" fmla="*/ 0 w 51"/>
                <a:gd name="T5" fmla="*/ 115 h 115"/>
                <a:gd name="T6" fmla="*/ 51 w 51"/>
                <a:gd name="T7" fmla="*/ 115 h 115"/>
                <a:gd name="T8" fmla="*/ 51 w 51"/>
                <a:gd name="T9" fmla="*/ 0 h 115"/>
                <a:gd name="T10" fmla="*/ 10 w 51"/>
                <a:gd name="T11" fmla="*/ 0 h 115"/>
                <a:gd name="T12" fmla="*/ 34 w 51"/>
                <a:gd name="T13" fmla="*/ 91 h 115"/>
                <a:gd name="T14" fmla="*/ 17 w 51"/>
                <a:gd name="T15" fmla="*/ 91 h 115"/>
                <a:gd name="T16" fmla="*/ 17 w 51"/>
                <a:gd name="T17" fmla="*/ 74 h 115"/>
                <a:gd name="T18" fmla="*/ 34 w 51"/>
                <a:gd name="T19" fmla="*/ 74 h 115"/>
                <a:gd name="T20" fmla="*/ 34 w 51"/>
                <a:gd name="T21" fmla="*/ 91 h 115"/>
                <a:gd name="T22" fmla="*/ 34 w 51"/>
                <a:gd name="T23" fmla="*/ 62 h 115"/>
                <a:gd name="T24" fmla="*/ 17 w 51"/>
                <a:gd name="T25" fmla="*/ 62 h 115"/>
                <a:gd name="T26" fmla="*/ 17 w 51"/>
                <a:gd name="T27" fmla="*/ 45 h 115"/>
                <a:gd name="T28" fmla="*/ 34 w 51"/>
                <a:gd name="T29" fmla="*/ 45 h 115"/>
                <a:gd name="T30" fmla="*/ 34 w 51"/>
                <a:gd name="T31" fmla="*/ 62 h 115"/>
                <a:gd name="T32" fmla="*/ 34 w 51"/>
                <a:gd name="T33" fmla="*/ 35 h 115"/>
                <a:gd name="T34" fmla="*/ 17 w 51"/>
                <a:gd name="T35" fmla="*/ 35 h 115"/>
                <a:gd name="T36" fmla="*/ 17 w 51"/>
                <a:gd name="T37" fmla="*/ 18 h 115"/>
                <a:gd name="T38" fmla="*/ 34 w 51"/>
                <a:gd name="T39" fmla="*/ 18 h 115"/>
                <a:gd name="T40" fmla="*/ 34 w 51"/>
                <a:gd name="T41"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15">
                  <a:moveTo>
                    <a:pt x="10" y="0"/>
                  </a:moveTo>
                  <a:cubicBezTo>
                    <a:pt x="5" y="0"/>
                    <a:pt x="0" y="5"/>
                    <a:pt x="0" y="11"/>
                  </a:cubicBezTo>
                  <a:cubicBezTo>
                    <a:pt x="0" y="115"/>
                    <a:pt x="0" y="115"/>
                    <a:pt x="0" y="115"/>
                  </a:cubicBezTo>
                  <a:cubicBezTo>
                    <a:pt x="51" y="115"/>
                    <a:pt x="51" y="115"/>
                    <a:pt x="51" y="115"/>
                  </a:cubicBezTo>
                  <a:cubicBezTo>
                    <a:pt x="51" y="0"/>
                    <a:pt x="51" y="0"/>
                    <a:pt x="51" y="0"/>
                  </a:cubicBezTo>
                  <a:lnTo>
                    <a:pt x="10" y="0"/>
                  </a:lnTo>
                  <a:close/>
                  <a:moveTo>
                    <a:pt x="34" y="91"/>
                  </a:moveTo>
                  <a:cubicBezTo>
                    <a:pt x="17" y="91"/>
                    <a:pt x="17" y="91"/>
                    <a:pt x="17" y="91"/>
                  </a:cubicBezTo>
                  <a:cubicBezTo>
                    <a:pt x="17" y="74"/>
                    <a:pt x="17" y="74"/>
                    <a:pt x="17" y="74"/>
                  </a:cubicBezTo>
                  <a:cubicBezTo>
                    <a:pt x="34" y="74"/>
                    <a:pt x="34" y="74"/>
                    <a:pt x="34" y="74"/>
                  </a:cubicBezTo>
                  <a:lnTo>
                    <a:pt x="34" y="91"/>
                  </a:lnTo>
                  <a:close/>
                  <a:moveTo>
                    <a:pt x="34" y="62"/>
                  </a:moveTo>
                  <a:cubicBezTo>
                    <a:pt x="17" y="62"/>
                    <a:pt x="17" y="62"/>
                    <a:pt x="17" y="62"/>
                  </a:cubicBezTo>
                  <a:cubicBezTo>
                    <a:pt x="17" y="45"/>
                    <a:pt x="17" y="45"/>
                    <a:pt x="17" y="45"/>
                  </a:cubicBezTo>
                  <a:cubicBezTo>
                    <a:pt x="34" y="45"/>
                    <a:pt x="34" y="45"/>
                    <a:pt x="34" y="45"/>
                  </a:cubicBezTo>
                  <a:lnTo>
                    <a:pt x="34" y="62"/>
                  </a:lnTo>
                  <a:close/>
                  <a:moveTo>
                    <a:pt x="34" y="35"/>
                  </a:moveTo>
                  <a:cubicBezTo>
                    <a:pt x="17" y="35"/>
                    <a:pt x="17" y="35"/>
                    <a:pt x="17" y="35"/>
                  </a:cubicBezTo>
                  <a:cubicBezTo>
                    <a:pt x="17" y="18"/>
                    <a:pt x="17" y="18"/>
                    <a:pt x="17" y="18"/>
                  </a:cubicBezTo>
                  <a:cubicBezTo>
                    <a:pt x="34" y="18"/>
                    <a:pt x="34" y="18"/>
                    <a:pt x="34" y="18"/>
                  </a:cubicBezTo>
                  <a:lnTo>
                    <a:pt x="3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2" name="Freeform 1549">
              <a:extLst>
                <a:ext uri="{FF2B5EF4-FFF2-40B4-BE49-F238E27FC236}">
                  <a16:creationId xmlns:a16="http://schemas.microsoft.com/office/drawing/2014/main" id="{04BB34E7-9632-DF5A-FACE-1B455C81662D}"/>
                </a:ext>
              </a:extLst>
            </p:cNvPr>
            <p:cNvSpPr>
              <a:spLocks/>
            </p:cNvSpPr>
            <p:nvPr/>
          </p:nvSpPr>
          <p:spPr bwMode="gray">
            <a:xfrm>
              <a:off x="7295119" y="5869444"/>
              <a:ext cx="78581" cy="27385"/>
            </a:xfrm>
            <a:custGeom>
              <a:avLst/>
              <a:gdLst>
                <a:gd name="T0" fmla="*/ 10 w 28"/>
                <a:gd name="T1" fmla="*/ 0 h 10"/>
                <a:gd name="T2" fmla="*/ 0 w 28"/>
                <a:gd name="T3" fmla="*/ 10 h 10"/>
                <a:gd name="T4" fmla="*/ 28 w 28"/>
                <a:gd name="T5" fmla="*/ 10 h 10"/>
                <a:gd name="T6" fmla="*/ 28 w 28"/>
                <a:gd name="T7" fmla="*/ 0 h 10"/>
                <a:gd name="T8" fmla="*/ 10 w 28"/>
                <a:gd name="T9" fmla="*/ 0 h 10"/>
              </a:gdLst>
              <a:ahLst/>
              <a:cxnLst>
                <a:cxn ang="0">
                  <a:pos x="T0" y="T1"/>
                </a:cxn>
                <a:cxn ang="0">
                  <a:pos x="T2" y="T3"/>
                </a:cxn>
                <a:cxn ang="0">
                  <a:pos x="T4" y="T5"/>
                </a:cxn>
                <a:cxn ang="0">
                  <a:pos x="T6" y="T7"/>
                </a:cxn>
                <a:cxn ang="0">
                  <a:pos x="T8" y="T9"/>
                </a:cxn>
              </a:cxnLst>
              <a:rect l="0" t="0" r="r" b="b"/>
              <a:pathLst>
                <a:path w="28" h="10">
                  <a:moveTo>
                    <a:pt x="10" y="0"/>
                  </a:moveTo>
                  <a:cubicBezTo>
                    <a:pt x="4" y="0"/>
                    <a:pt x="0" y="5"/>
                    <a:pt x="0" y="10"/>
                  </a:cubicBezTo>
                  <a:cubicBezTo>
                    <a:pt x="28" y="10"/>
                    <a:pt x="28" y="10"/>
                    <a:pt x="28" y="10"/>
                  </a:cubicBezTo>
                  <a:cubicBezTo>
                    <a:pt x="28" y="0"/>
                    <a:pt x="28" y="0"/>
                    <a:pt x="28" y="0"/>
                  </a:cubicBez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sp>
          <p:nvSpPr>
            <p:cNvPr id="143" name="Freeform 1550">
              <a:extLst>
                <a:ext uri="{FF2B5EF4-FFF2-40B4-BE49-F238E27FC236}">
                  <a16:creationId xmlns:a16="http://schemas.microsoft.com/office/drawing/2014/main" id="{99299495-1A75-D054-0CD4-F2DDFCDAD165}"/>
                </a:ext>
              </a:extLst>
            </p:cNvPr>
            <p:cNvSpPr>
              <a:spLocks/>
            </p:cNvSpPr>
            <p:nvPr/>
          </p:nvSpPr>
          <p:spPr bwMode="gray">
            <a:xfrm>
              <a:off x="7629684" y="5869444"/>
              <a:ext cx="78581" cy="27385"/>
            </a:xfrm>
            <a:custGeom>
              <a:avLst/>
              <a:gdLst>
                <a:gd name="T0" fmla="*/ 18 w 28"/>
                <a:gd name="T1" fmla="*/ 0 h 10"/>
                <a:gd name="T2" fmla="*/ 28 w 28"/>
                <a:gd name="T3" fmla="*/ 10 h 10"/>
                <a:gd name="T4" fmla="*/ 0 w 28"/>
                <a:gd name="T5" fmla="*/ 10 h 10"/>
                <a:gd name="T6" fmla="*/ 0 w 28"/>
                <a:gd name="T7" fmla="*/ 0 h 10"/>
                <a:gd name="T8" fmla="*/ 18 w 28"/>
                <a:gd name="T9" fmla="*/ 0 h 10"/>
              </a:gdLst>
              <a:ahLst/>
              <a:cxnLst>
                <a:cxn ang="0">
                  <a:pos x="T0" y="T1"/>
                </a:cxn>
                <a:cxn ang="0">
                  <a:pos x="T2" y="T3"/>
                </a:cxn>
                <a:cxn ang="0">
                  <a:pos x="T4" y="T5"/>
                </a:cxn>
                <a:cxn ang="0">
                  <a:pos x="T6" y="T7"/>
                </a:cxn>
                <a:cxn ang="0">
                  <a:pos x="T8" y="T9"/>
                </a:cxn>
              </a:cxnLst>
              <a:rect l="0" t="0" r="r" b="b"/>
              <a:pathLst>
                <a:path w="28" h="10">
                  <a:moveTo>
                    <a:pt x="18" y="0"/>
                  </a:moveTo>
                  <a:cubicBezTo>
                    <a:pt x="23" y="0"/>
                    <a:pt x="28" y="5"/>
                    <a:pt x="28" y="10"/>
                  </a:cubicBezTo>
                  <a:cubicBezTo>
                    <a:pt x="0" y="10"/>
                    <a:pt x="0" y="10"/>
                    <a:pt x="0" y="10"/>
                  </a:cubicBezTo>
                  <a:cubicBezTo>
                    <a:pt x="0" y="0"/>
                    <a:pt x="0" y="0"/>
                    <a:pt x="0" y="0"/>
                  </a:cubicBezTo>
                  <a:lnTo>
                    <a:pt x="1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a:p>
          </p:txBody>
        </p:sp>
      </p:grpSp>
      <p:sp>
        <p:nvSpPr>
          <p:cNvPr id="118" name="Rectangle 117">
            <a:extLst>
              <a:ext uri="{FF2B5EF4-FFF2-40B4-BE49-F238E27FC236}">
                <a16:creationId xmlns:a16="http://schemas.microsoft.com/office/drawing/2014/main" id="{03606830-0145-BF89-5080-5EDD4851A9CA}"/>
              </a:ext>
            </a:extLst>
          </p:cNvPr>
          <p:cNvSpPr/>
          <p:nvPr/>
        </p:nvSpPr>
        <p:spPr>
          <a:xfrm>
            <a:off x="8171700" y="1762163"/>
            <a:ext cx="1491185" cy="404612"/>
          </a:xfrm>
          <a:prstGeom prst="rect">
            <a:avLst/>
          </a:prstGeom>
          <a:solidFill>
            <a:srgbClr val="76B49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noProof="0" dirty="0">
                <a:ln>
                  <a:noFill/>
                </a:ln>
                <a:solidFill>
                  <a:schemeClr val="tx1"/>
                </a:solidFill>
                <a:effectLst/>
                <a:uLnTx/>
                <a:uFillTx/>
                <a:latin typeface="Avenir Next LT Pro" panose="020B0504020202020204" pitchFamily="34" charset="0"/>
              </a:rPr>
              <a:t>20XX</a:t>
            </a:r>
            <a:endParaRPr kumimoji="0" lang="en-CA" sz="1800" b="1" i="0" u="none" strike="noStrike" kern="1200" cap="none" spc="0" normalizeH="0" baseline="0" noProof="0" dirty="0">
              <a:ln>
                <a:noFill/>
              </a:ln>
              <a:solidFill>
                <a:schemeClr val="tx1"/>
              </a:solidFill>
              <a:effectLst/>
              <a:uLnTx/>
              <a:uFillTx/>
              <a:latin typeface="Avenir Next LT Pro" panose="020B0504020202020204" pitchFamily="34" charset="0"/>
            </a:endParaRPr>
          </a:p>
        </p:txBody>
      </p:sp>
      <p:sp>
        <p:nvSpPr>
          <p:cNvPr id="125" name="Rectangle: Rounded Corners 251">
            <a:extLst>
              <a:ext uri="{FF2B5EF4-FFF2-40B4-BE49-F238E27FC236}">
                <a16:creationId xmlns:a16="http://schemas.microsoft.com/office/drawing/2014/main" id="{C3A1B379-6571-1C49-58FA-89CBE354E722}"/>
              </a:ext>
            </a:extLst>
          </p:cNvPr>
          <p:cNvSpPr/>
          <p:nvPr/>
        </p:nvSpPr>
        <p:spPr>
          <a:xfrm>
            <a:off x="6794648" y="2445695"/>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CA" sz="1600" b="1" dirty="0">
                <a:solidFill>
                  <a:schemeClr val="tx1"/>
                </a:solidFill>
                <a:latin typeface="Avenir Next LT Pro" panose="020B0504020202020204" pitchFamily="34" charset="0"/>
              </a:rPr>
              <a:t>New address</a:t>
            </a:r>
            <a:endParaRPr lang="fr-CA" sz="1600" dirty="0">
              <a:solidFill>
                <a:srgbClr val="FF0000"/>
              </a:solidFill>
              <a:highlight>
                <a:srgbClr val="FFFF00"/>
              </a:highlight>
              <a:latin typeface="Avenir Next LT Pro" panose="020B0504020202020204" pitchFamily="34" charset="0"/>
            </a:endParaRPr>
          </a:p>
        </p:txBody>
      </p:sp>
      <p:sp>
        <p:nvSpPr>
          <p:cNvPr id="126" name="Rectangle: Rounded Corners 252">
            <a:extLst>
              <a:ext uri="{FF2B5EF4-FFF2-40B4-BE49-F238E27FC236}">
                <a16:creationId xmlns:a16="http://schemas.microsoft.com/office/drawing/2014/main" id="{1D166D08-6E2D-80DD-6808-092F6378AC03}"/>
              </a:ext>
            </a:extLst>
          </p:cNvPr>
          <p:cNvSpPr/>
          <p:nvPr/>
        </p:nvSpPr>
        <p:spPr>
          <a:xfrm>
            <a:off x="6809832" y="2991151"/>
            <a:ext cx="3913586" cy="360836"/>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dirty="0">
                <a:solidFill>
                  <a:schemeClr val="tx1"/>
                </a:solidFill>
                <a:latin typeface="Avenir Next LT Pro" panose="020B0504020202020204" pitchFamily="34" charset="0"/>
              </a:rPr>
              <a:t>New </a:t>
            </a:r>
            <a:r>
              <a:rPr lang="fr-CA" sz="1600" dirty="0" err="1">
                <a:solidFill>
                  <a:schemeClr val="tx1"/>
                </a:solidFill>
                <a:latin typeface="Avenir Next LT Pro" panose="020B0504020202020204" pitchFamily="34" charset="0"/>
              </a:rPr>
              <a:t>number</a:t>
            </a:r>
            <a:r>
              <a:rPr lang="fr-CA" sz="1600" dirty="0">
                <a:solidFill>
                  <a:schemeClr val="tx1"/>
                </a:solidFill>
                <a:latin typeface="Avenir Next LT Pro" panose="020B0504020202020204" pitchFamily="34" charset="0"/>
              </a:rPr>
              <a:t> of </a:t>
            </a:r>
            <a:r>
              <a:rPr lang="fr-CA" sz="1600" dirty="0" err="1">
                <a:solidFill>
                  <a:schemeClr val="tx1"/>
                </a:solidFill>
                <a:latin typeface="Avenir Next LT Pro" panose="020B0504020202020204" pitchFamily="34" charset="0"/>
              </a:rPr>
              <a:t>floors</a:t>
            </a:r>
            <a:endParaRPr lang="fr-CA" sz="1600" dirty="0">
              <a:solidFill>
                <a:schemeClr val="tx1"/>
              </a:solidFill>
              <a:latin typeface="Avenir Next LT Pro" panose="020B0504020202020204" pitchFamily="34" charset="0"/>
            </a:endParaRPr>
          </a:p>
        </p:txBody>
      </p:sp>
      <p:sp>
        <p:nvSpPr>
          <p:cNvPr id="132" name="TextBox 156">
            <a:extLst>
              <a:ext uri="{FF2B5EF4-FFF2-40B4-BE49-F238E27FC236}">
                <a16:creationId xmlns:a16="http://schemas.microsoft.com/office/drawing/2014/main" id="{972E62F7-856E-E74B-98EE-589692A22E88}"/>
              </a:ext>
            </a:extLst>
          </p:cNvPr>
          <p:cNvSpPr txBox="1"/>
          <p:nvPr/>
        </p:nvSpPr>
        <p:spPr>
          <a:xfrm>
            <a:off x="6927445" y="3642261"/>
            <a:ext cx="3507375" cy="33855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CA" sz="1600" b="1" dirty="0">
                <a:latin typeface="Avenir Next LT Pro" panose="020B0504020202020204" pitchFamily="34" charset="0"/>
              </a:rPr>
              <a:t>Unassigned </a:t>
            </a:r>
            <a:r>
              <a:rPr lang="en-CA" sz="1600" b="1" dirty="0" err="1">
                <a:latin typeface="Avenir Next LT Pro" panose="020B0504020202020204" pitchFamily="34" charset="0"/>
              </a:rPr>
              <a:t>workpoints</a:t>
            </a:r>
            <a:endParaRPr lang="en-CA" sz="1600" b="1" i="1" dirty="0">
              <a:latin typeface="Avenir Next LT Pro" panose="020B0504020202020204" pitchFamily="34" charset="0"/>
            </a:endParaRPr>
          </a:p>
        </p:txBody>
      </p:sp>
      <p:sp>
        <p:nvSpPr>
          <p:cNvPr id="131" name="Rectangle: Rounded Corners 153" descr="Unassigned workpoints : a person working at a sit-stand workstation, tow people working at in a meeting room with a monitor displaying a presentation, and two person at a chat point.">
            <a:extLst>
              <a:ext uri="{FF2B5EF4-FFF2-40B4-BE49-F238E27FC236}">
                <a16:creationId xmlns:a16="http://schemas.microsoft.com/office/drawing/2014/main" id="{F71F5B42-71A6-85F9-508A-7ED7FF32727F}"/>
              </a:ext>
            </a:extLst>
          </p:cNvPr>
          <p:cNvSpPr/>
          <p:nvPr/>
        </p:nvSpPr>
        <p:spPr>
          <a:xfrm>
            <a:off x="6826601" y="3578888"/>
            <a:ext cx="4011117" cy="1615853"/>
          </a:xfrm>
          <a:prstGeom prst="roundRect">
            <a:avLst>
              <a:gd name="adj" fmla="val 6692"/>
            </a:avLst>
          </a:prstGeom>
          <a:noFill/>
          <a:ln w="19050">
            <a:solidFill>
              <a:srgbClr val="76B49F"/>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CA"/>
          </a:p>
        </p:txBody>
      </p:sp>
      <p:pic>
        <p:nvPicPr>
          <p:cNvPr id="133" name="Picture 191">
            <a:extLst>
              <a:ext uri="{FF2B5EF4-FFF2-40B4-BE49-F238E27FC236}">
                <a16:creationId xmlns:a16="http://schemas.microsoft.com/office/drawing/2014/main" id="{2C4D393D-1B54-98F0-19F7-D0F7CB3EDE01}"/>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9142790" y="4022244"/>
            <a:ext cx="1174806" cy="880081"/>
          </a:xfrm>
          <a:prstGeom prst="rect">
            <a:avLst/>
          </a:prstGeom>
        </p:spPr>
      </p:pic>
      <p:pic>
        <p:nvPicPr>
          <p:cNvPr id="134" name="Picture 192">
            <a:extLst>
              <a:ext uri="{FF2B5EF4-FFF2-40B4-BE49-F238E27FC236}">
                <a16:creationId xmlns:a16="http://schemas.microsoft.com/office/drawing/2014/main" id="{5BE65366-221B-6F0C-7BDE-1611F267E4E8}"/>
              </a:ext>
              <a:ext uri="{C183D7F6-B498-43B3-948B-1728B52AA6E4}">
                <adec:decorative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6934383" y="4064188"/>
            <a:ext cx="781969" cy="848938"/>
          </a:xfrm>
          <a:prstGeom prst="rect">
            <a:avLst/>
          </a:prstGeom>
        </p:spPr>
      </p:pic>
      <p:grpSp>
        <p:nvGrpSpPr>
          <p:cNvPr id="135" name="Group 194">
            <a:extLst>
              <a:ext uri="{FF2B5EF4-FFF2-40B4-BE49-F238E27FC236}">
                <a16:creationId xmlns:a16="http://schemas.microsoft.com/office/drawing/2014/main" id="{DFC4213B-24A7-04FD-6312-18CA7ABB7C6D}"/>
              </a:ext>
              <a:ext uri="{C183D7F6-B498-43B3-948B-1728B52AA6E4}">
                <adec:decorative xmlns:adec="http://schemas.microsoft.com/office/drawing/2017/decorative" val="1"/>
              </a:ext>
            </a:extLst>
          </p:cNvPr>
          <p:cNvGrpSpPr/>
          <p:nvPr/>
        </p:nvGrpSpPr>
        <p:grpSpPr>
          <a:xfrm>
            <a:off x="7815558" y="4087904"/>
            <a:ext cx="1327232" cy="816533"/>
            <a:chOff x="6312030" y="4120319"/>
            <a:chExt cx="3331283" cy="2089752"/>
          </a:xfrm>
        </p:grpSpPr>
        <p:pic>
          <p:nvPicPr>
            <p:cNvPr id="136" name="Picture 157">
              <a:extLst>
                <a:ext uri="{FF2B5EF4-FFF2-40B4-BE49-F238E27FC236}">
                  <a16:creationId xmlns:a16="http://schemas.microsoft.com/office/drawing/2014/main" id="{8A40CC07-30C0-A29C-CFB2-A0D268F96E64}"/>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312030" y="4120319"/>
              <a:ext cx="3331283" cy="2089752"/>
            </a:xfrm>
            <a:prstGeom prst="rect">
              <a:avLst/>
            </a:prstGeom>
          </p:spPr>
        </p:pic>
        <p:pic>
          <p:nvPicPr>
            <p:cNvPr id="137" name="Picture 158">
              <a:extLst>
                <a:ext uri="{FF2B5EF4-FFF2-40B4-BE49-F238E27FC236}">
                  <a16:creationId xmlns:a16="http://schemas.microsoft.com/office/drawing/2014/main" id="{E2CAB800-4796-CB87-2473-059A42A0D5AB}"/>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8364802" y="4770520"/>
              <a:ext cx="796645" cy="1439551"/>
            </a:xfrm>
            <a:prstGeom prst="rect">
              <a:avLst/>
            </a:prstGeom>
          </p:spPr>
        </p:pic>
        <p:pic>
          <p:nvPicPr>
            <p:cNvPr id="138" name="Picture 193">
              <a:extLst>
                <a:ext uri="{FF2B5EF4-FFF2-40B4-BE49-F238E27FC236}">
                  <a16:creationId xmlns:a16="http://schemas.microsoft.com/office/drawing/2014/main" id="{2C59B320-7562-AC56-2510-16F73B114013}"/>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8176212" y="5087005"/>
              <a:ext cx="377179" cy="309624"/>
            </a:xfrm>
            <a:prstGeom prst="rect">
              <a:avLst/>
            </a:prstGeom>
          </p:spPr>
        </p:pic>
      </p:grpSp>
      <p:sp>
        <p:nvSpPr>
          <p:cNvPr id="3" name="Rectangle: Rounded Corners 252">
            <a:extLst>
              <a:ext uri="{FF2B5EF4-FFF2-40B4-BE49-F238E27FC236}">
                <a16:creationId xmlns:a16="http://schemas.microsoft.com/office/drawing/2014/main" id="{B4C4C6A1-95F9-4595-D5F9-6FBFE059FF64}"/>
              </a:ext>
            </a:extLst>
          </p:cNvPr>
          <p:cNvSpPr/>
          <p:nvPr/>
        </p:nvSpPr>
        <p:spPr>
          <a:xfrm>
            <a:off x="6794648" y="5329259"/>
            <a:ext cx="4043070" cy="1267225"/>
          </a:xfrm>
          <a:prstGeom prst="roundRect">
            <a:avLst/>
          </a:prstGeom>
          <a:solidFill>
            <a:schemeClr val="accent3">
              <a:lumMod val="20000"/>
              <a:lumOff val="80000"/>
            </a:schemeClr>
          </a:solidFill>
          <a:ln w="19050">
            <a:solidFill>
              <a:srgbClr val="76B49F"/>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fr-CA" sz="1600" b="1" dirty="0">
                <a:solidFill>
                  <a:schemeClr val="tx1"/>
                </a:solidFill>
                <a:latin typeface="Avenir Next LT Pro" panose="020B0504020202020204" pitchFamily="34" charset="0"/>
              </a:rPr>
              <a:t>New </a:t>
            </a:r>
            <a:r>
              <a:rPr lang="fr-CA" sz="1600" b="1" dirty="0" err="1">
                <a:solidFill>
                  <a:schemeClr val="tx1"/>
                </a:solidFill>
                <a:latin typeface="Avenir Next LT Pro" panose="020B0504020202020204" pitchFamily="34" charset="0"/>
              </a:rPr>
              <a:t>workplace</a:t>
            </a:r>
            <a:r>
              <a:rPr lang="fr-CA" sz="1600" b="1" dirty="0">
                <a:solidFill>
                  <a:schemeClr val="tx1"/>
                </a:solidFill>
                <a:latin typeface="Avenir Next LT Pro" panose="020B0504020202020204" pitchFamily="34" charset="0"/>
              </a:rPr>
              <a:t> </a:t>
            </a:r>
            <a:r>
              <a:rPr lang="fr-CA" sz="1600" b="1" dirty="0" err="1">
                <a:solidFill>
                  <a:schemeClr val="tx1"/>
                </a:solidFill>
                <a:latin typeface="Avenir Next LT Pro" panose="020B0504020202020204" pitchFamily="34" charset="0"/>
              </a:rPr>
              <a:t>utilization</a:t>
            </a:r>
            <a:r>
              <a:rPr lang="fr-CA" sz="1600" b="1" dirty="0">
                <a:solidFill>
                  <a:schemeClr val="tx1"/>
                </a:solidFill>
                <a:latin typeface="Avenir Next LT Pro" panose="020B0504020202020204" pitchFamily="34" charset="0"/>
              </a:rPr>
              <a:t> </a:t>
            </a:r>
            <a:r>
              <a:rPr lang="fr-CA" sz="1600" b="1" dirty="0" err="1">
                <a:solidFill>
                  <a:schemeClr val="tx1"/>
                </a:solidFill>
                <a:latin typeface="Avenir Next LT Pro" panose="020B0504020202020204" pitchFamily="34" charset="0"/>
              </a:rPr>
              <a:t>strategies</a:t>
            </a:r>
            <a:endParaRPr lang="fr-CA" sz="1600" b="1" dirty="0">
              <a:solidFill>
                <a:schemeClr val="tx1"/>
              </a:solidFill>
              <a:latin typeface="Avenir Next LT Pro" panose="020B0504020202020204" pitchFamily="34" charset="0"/>
            </a:endParaRPr>
          </a:p>
          <a:p>
            <a:pPr marL="285750" indent="-285750">
              <a:buFont typeface="Courier New" panose="02070309020205020404" pitchFamily="49" charset="0"/>
              <a:buChar char="o"/>
            </a:pPr>
            <a:r>
              <a:rPr lang="fr-CA" sz="1600" dirty="0">
                <a:solidFill>
                  <a:schemeClr val="tx1"/>
                </a:solidFill>
                <a:latin typeface="Avenir Next LT Pro" panose="020B0504020202020204" pitchFamily="34" charset="0"/>
              </a:rPr>
              <a:t>Quiet zones</a:t>
            </a:r>
          </a:p>
          <a:p>
            <a:pPr marL="285750" indent="-285750">
              <a:buFont typeface="Courier New" panose="02070309020205020404" pitchFamily="49" charset="0"/>
              <a:buChar char="o"/>
            </a:pPr>
            <a:r>
              <a:rPr lang="fr-CA" sz="1600" dirty="0" err="1">
                <a:solidFill>
                  <a:schemeClr val="tx1"/>
                </a:solidFill>
                <a:latin typeface="Avenir Next LT Pro" panose="020B0504020202020204" pitchFamily="34" charset="0"/>
              </a:rPr>
              <a:t>Neighbourhoods</a:t>
            </a:r>
            <a:endParaRPr lang="fr-CA" sz="1600" dirty="0">
              <a:solidFill>
                <a:schemeClr val="tx1"/>
              </a:solidFill>
              <a:latin typeface="Avenir Next LT Pro" panose="020B0504020202020204" pitchFamily="34" charset="0"/>
            </a:endParaRPr>
          </a:p>
          <a:p>
            <a:pPr marL="285750" indent="-285750">
              <a:buFont typeface="Courier New" panose="02070309020205020404" pitchFamily="49" charset="0"/>
              <a:buChar char="o"/>
            </a:pPr>
            <a:r>
              <a:rPr lang="fr-CA" sz="1600" dirty="0" err="1">
                <a:solidFill>
                  <a:schemeClr val="tx1"/>
                </a:solidFill>
                <a:latin typeface="Avenir Next LT Pro" panose="020B0504020202020204" pitchFamily="34" charset="0"/>
              </a:rPr>
              <a:t>Booking</a:t>
            </a:r>
            <a:r>
              <a:rPr lang="fr-CA" sz="1600" dirty="0">
                <a:solidFill>
                  <a:schemeClr val="tx1"/>
                </a:solidFill>
                <a:latin typeface="Avenir Next LT Pro" panose="020B0504020202020204" pitchFamily="34" charset="0"/>
              </a:rPr>
              <a:t> system</a:t>
            </a:r>
          </a:p>
          <a:p>
            <a:pPr marL="285750" indent="-285750">
              <a:buFont typeface="Courier New" panose="02070309020205020404" pitchFamily="49" charset="0"/>
              <a:buChar char="o"/>
            </a:pPr>
            <a:r>
              <a:rPr lang="fr-CA" sz="1600" dirty="0" err="1">
                <a:solidFill>
                  <a:schemeClr val="tx1"/>
                </a:solidFill>
                <a:latin typeface="Avenir Next LT Pro" panose="020B0504020202020204" pitchFamily="34" charset="0"/>
              </a:rPr>
              <a:t>Personnal</a:t>
            </a:r>
            <a:r>
              <a:rPr lang="fr-CA" sz="1600" dirty="0">
                <a:solidFill>
                  <a:schemeClr val="tx1"/>
                </a:solidFill>
                <a:latin typeface="Avenir Next LT Pro" panose="020B0504020202020204" pitchFamily="34" charset="0"/>
              </a:rPr>
              <a:t> </a:t>
            </a:r>
            <a:r>
              <a:rPr lang="fr-CA" sz="1600" dirty="0" err="1">
                <a:solidFill>
                  <a:schemeClr val="tx1"/>
                </a:solidFill>
                <a:latin typeface="Avenir Next LT Pro" panose="020B0504020202020204" pitchFamily="34" charset="0"/>
              </a:rPr>
              <a:t>storage</a:t>
            </a:r>
            <a:endParaRPr lang="fr-CA" sz="1600" dirty="0">
              <a:solidFill>
                <a:schemeClr val="tx1"/>
              </a:solidFill>
              <a:latin typeface="Avenir Next LT Pro" panose="020B0504020202020204" pitchFamily="34" charset="0"/>
            </a:endParaRPr>
          </a:p>
        </p:txBody>
      </p:sp>
    </p:spTree>
    <p:extLst>
      <p:ext uri="{BB962C8B-B14F-4D97-AF65-F5344CB8AC3E}">
        <p14:creationId xmlns:p14="http://schemas.microsoft.com/office/powerpoint/2010/main" val="581567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5CFF1F66-C9F8-5499-40CC-51C8B8764C38}"/>
              </a:ext>
            </a:extLst>
          </p:cNvPr>
          <p:cNvSpPr>
            <a:spLocks noGrp="1"/>
          </p:cNvSpPr>
          <p:nvPr>
            <p:ph type="title"/>
          </p:nvPr>
        </p:nvSpPr>
        <p:spPr>
          <a:xfrm>
            <a:off x="508760" y="557949"/>
            <a:ext cx="11006344" cy="835027"/>
          </a:xfrm>
        </p:spPr>
        <p:txBody>
          <a:bodyPr/>
          <a:lstStyle/>
          <a:p>
            <a:r>
              <a:rPr lang="fr-CA" dirty="0"/>
              <a:t>Timeline</a:t>
            </a:r>
            <a:endParaRPr lang="en-CA" dirty="0"/>
          </a:p>
        </p:txBody>
      </p:sp>
      <p:sp>
        <p:nvSpPr>
          <p:cNvPr id="59" name="ZoneTexte 58">
            <a:extLst>
              <a:ext uri="{FF2B5EF4-FFF2-40B4-BE49-F238E27FC236}">
                <a16:creationId xmlns:a16="http://schemas.microsoft.com/office/drawing/2014/main" id="{9EEF3366-3763-B493-96F0-E3984E5F4223}"/>
              </a:ext>
            </a:extLst>
          </p:cNvPr>
          <p:cNvSpPr txBox="1"/>
          <p:nvPr/>
        </p:nvSpPr>
        <p:spPr>
          <a:xfrm>
            <a:off x="273788" y="2690409"/>
            <a:ext cx="2554103" cy="369332"/>
          </a:xfrm>
          <a:prstGeom prst="rect">
            <a:avLst/>
          </a:prstGeom>
          <a:noFill/>
        </p:spPr>
        <p:txBody>
          <a:bodyPr wrap="square" rtlCol="0">
            <a:spAutoFit/>
          </a:bodyPr>
          <a:lstStyle/>
          <a:p>
            <a:r>
              <a:rPr lang="fr-CA" dirty="0" err="1"/>
              <a:t>Ongoing</a:t>
            </a:r>
            <a:r>
              <a:rPr lang="fr-CA" dirty="0"/>
              <a:t> communications</a:t>
            </a:r>
            <a:endParaRPr lang="en-CA" dirty="0"/>
          </a:p>
        </p:txBody>
      </p:sp>
      <p:sp>
        <p:nvSpPr>
          <p:cNvPr id="47" name="ZoneTexte 46">
            <a:extLst>
              <a:ext uri="{FF2B5EF4-FFF2-40B4-BE49-F238E27FC236}">
                <a16:creationId xmlns:a16="http://schemas.microsoft.com/office/drawing/2014/main" id="{6F061153-9151-0D2F-6C2F-16E75EEC8F0B}"/>
              </a:ext>
            </a:extLst>
          </p:cNvPr>
          <p:cNvSpPr txBox="1"/>
          <p:nvPr/>
        </p:nvSpPr>
        <p:spPr>
          <a:xfrm>
            <a:off x="1512935" y="5455468"/>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48" name="ZoneTexte 47">
            <a:extLst>
              <a:ext uri="{FF2B5EF4-FFF2-40B4-BE49-F238E27FC236}">
                <a16:creationId xmlns:a16="http://schemas.microsoft.com/office/drawing/2014/main" id="{6B16CA0D-CB1F-D6ED-89BE-F6616AE840BF}"/>
              </a:ext>
            </a:extLst>
          </p:cNvPr>
          <p:cNvSpPr txBox="1"/>
          <p:nvPr/>
        </p:nvSpPr>
        <p:spPr>
          <a:xfrm>
            <a:off x="1257300" y="5770154"/>
            <a:ext cx="2063105" cy="370380"/>
          </a:xfrm>
          <a:prstGeom prst="rect">
            <a:avLst/>
          </a:prstGeom>
          <a:noFill/>
        </p:spPr>
        <p:txBody>
          <a:bodyPr wrap="square" rtlCol="0">
            <a:spAutoFit/>
          </a:bodyPr>
          <a:lstStyle/>
          <a:p>
            <a:pPr algn="ctr"/>
            <a:r>
              <a:rPr lang="fr-CA" b="1" dirty="0"/>
              <a:t>All-staff Town Hall</a:t>
            </a:r>
            <a:endParaRPr lang="en-CA" b="1" dirty="0"/>
          </a:p>
        </p:txBody>
      </p:sp>
      <p:sp>
        <p:nvSpPr>
          <p:cNvPr id="51" name="ZoneTexte 50">
            <a:extLst>
              <a:ext uri="{FF2B5EF4-FFF2-40B4-BE49-F238E27FC236}">
                <a16:creationId xmlns:a16="http://schemas.microsoft.com/office/drawing/2014/main" id="{F808FB0B-95FB-588D-74D4-560CE24F641C}"/>
              </a:ext>
            </a:extLst>
          </p:cNvPr>
          <p:cNvSpPr txBox="1"/>
          <p:nvPr/>
        </p:nvSpPr>
        <p:spPr>
          <a:xfrm>
            <a:off x="3317914" y="1303026"/>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2" name="ZoneTexte 51">
            <a:extLst>
              <a:ext uri="{FF2B5EF4-FFF2-40B4-BE49-F238E27FC236}">
                <a16:creationId xmlns:a16="http://schemas.microsoft.com/office/drawing/2014/main" id="{FB1CCAB6-4244-F5C1-D619-C44E7D9FA0E1}"/>
              </a:ext>
            </a:extLst>
          </p:cNvPr>
          <p:cNvSpPr txBox="1"/>
          <p:nvPr/>
        </p:nvSpPr>
        <p:spPr>
          <a:xfrm>
            <a:off x="2608869" y="1603988"/>
            <a:ext cx="2756732" cy="646331"/>
          </a:xfrm>
          <a:prstGeom prst="rect">
            <a:avLst/>
          </a:prstGeom>
          <a:noFill/>
        </p:spPr>
        <p:txBody>
          <a:bodyPr wrap="square" rtlCol="0">
            <a:spAutoFit/>
          </a:bodyPr>
          <a:lstStyle/>
          <a:p>
            <a:pPr algn="ctr"/>
            <a:r>
              <a:rPr lang="fr-CA" b="1" dirty="0"/>
              <a:t>Removal of </a:t>
            </a:r>
            <a:r>
              <a:rPr lang="fr-CA" b="1" dirty="0" err="1"/>
              <a:t>personnal</a:t>
            </a:r>
            <a:r>
              <a:rPr lang="fr-CA" b="1" dirty="0"/>
              <a:t> &amp; business </a:t>
            </a:r>
            <a:r>
              <a:rPr lang="fr-CA" b="1" dirty="0" err="1"/>
              <a:t>assests</a:t>
            </a:r>
            <a:endParaRPr lang="en-CA" b="1" dirty="0"/>
          </a:p>
        </p:txBody>
      </p:sp>
      <p:sp>
        <p:nvSpPr>
          <p:cNvPr id="53" name="ZoneTexte 52">
            <a:extLst>
              <a:ext uri="{FF2B5EF4-FFF2-40B4-BE49-F238E27FC236}">
                <a16:creationId xmlns:a16="http://schemas.microsoft.com/office/drawing/2014/main" id="{77D85CA5-B859-31BE-A852-18BCBED95D02}"/>
              </a:ext>
            </a:extLst>
          </p:cNvPr>
          <p:cNvSpPr txBox="1"/>
          <p:nvPr/>
        </p:nvSpPr>
        <p:spPr>
          <a:xfrm>
            <a:off x="5104730" y="5472545"/>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4" name="ZoneTexte 53">
            <a:extLst>
              <a:ext uri="{FF2B5EF4-FFF2-40B4-BE49-F238E27FC236}">
                <a16:creationId xmlns:a16="http://schemas.microsoft.com/office/drawing/2014/main" id="{D1AF6197-0772-06C0-D39E-B685CA3A6EAD}"/>
              </a:ext>
            </a:extLst>
          </p:cNvPr>
          <p:cNvSpPr txBox="1"/>
          <p:nvPr/>
        </p:nvSpPr>
        <p:spPr>
          <a:xfrm>
            <a:off x="4400839" y="5734911"/>
            <a:ext cx="2756732" cy="646331"/>
          </a:xfrm>
          <a:prstGeom prst="rect">
            <a:avLst/>
          </a:prstGeom>
          <a:noFill/>
        </p:spPr>
        <p:txBody>
          <a:bodyPr wrap="square" rtlCol="0">
            <a:spAutoFit/>
          </a:bodyPr>
          <a:lstStyle/>
          <a:p>
            <a:pPr algn="ctr"/>
            <a:r>
              <a:rPr lang="fr-CA" b="1" dirty="0"/>
              <a:t>Guidance and </a:t>
            </a:r>
            <a:r>
              <a:rPr lang="fr-CA" b="1" dirty="0" err="1"/>
              <a:t>Familiarization</a:t>
            </a:r>
            <a:r>
              <a:rPr lang="fr-CA" b="1" dirty="0"/>
              <a:t> </a:t>
            </a:r>
            <a:r>
              <a:rPr lang="fr-CA" b="1" dirty="0" err="1"/>
              <a:t>Activities</a:t>
            </a:r>
            <a:endParaRPr lang="en-CA" b="1" dirty="0"/>
          </a:p>
        </p:txBody>
      </p:sp>
      <p:sp>
        <p:nvSpPr>
          <p:cNvPr id="56" name="ZoneTexte 55">
            <a:extLst>
              <a:ext uri="{FF2B5EF4-FFF2-40B4-BE49-F238E27FC236}">
                <a16:creationId xmlns:a16="http://schemas.microsoft.com/office/drawing/2014/main" id="{ACA4AAD1-FCBE-4C24-0B3D-DE15D577F00F}"/>
              </a:ext>
            </a:extLst>
          </p:cNvPr>
          <p:cNvSpPr txBox="1"/>
          <p:nvPr/>
        </p:nvSpPr>
        <p:spPr>
          <a:xfrm>
            <a:off x="6784018" y="1309675"/>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5" name="ZoneTexte 54">
            <a:extLst>
              <a:ext uri="{FF2B5EF4-FFF2-40B4-BE49-F238E27FC236}">
                <a16:creationId xmlns:a16="http://schemas.microsoft.com/office/drawing/2014/main" id="{7A1A59FF-8821-4234-BA1F-86BE5197E628}"/>
              </a:ext>
            </a:extLst>
          </p:cNvPr>
          <p:cNvSpPr txBox="1"/>
          <p:nvPr/>
        </p:nvSpPr>
        <p:spPr>
          <a:xfrm>
            <a:off x="6081778" y="1585937"/>
            <a:ext cx="3107449" cy="923330"/>
          </a:xfrm>
          <a:prstGeom prst="rect">
            <a:avLst/>
          </a:prstGeom>
          <a:noFill/>
        </p:spPr>
        <p:txBody>
          <a:bodyPr wrap="square" rtlCol="0">
            <a:spAutoFit/>
          </a:bodyPr>
          <a:lstStyle/>
          <a:p>
            <a:pPr algn="ctr"/>
            <a:r>
              <a:rPr lang="fr-CA" b="1" dirty="0">
                <a:highlight>
                  <a:srgbClr val="FFFF00"/>
                </a:highlight>
              </a:rPr>
              <a:t>Move </a:t>
            </a:r>
            <a:r>
              <a:rPr lang="fr-CA" b="1" i="1" dirty="0">
                <a:highlight>
                  <a:srgbClr val="FFFF00"/>
                </a:highlight>
              </a:rPr>
              <a:t>or</a:t>
            </a:r>
            <a:r>
              <a:rPr lang="fr-CA" b="1" dirty="0">
                <a:highlight>
                  <a:srgbClr val="FFFF00"/>
                </a:highlight>
              </a:rPr>
              <a:t> </a:t>
            </a:r>
            <a:r>
              <a:rPr lang="fr-CA" b="1" dirty="0" err="1">
                <a:highlight>
                  <a:srgbClr val="FFFF00"/>
                </a:highlight>
              </a:rPr>
              <a:t>Implementation</a:t>
            </a:r>
            <a:r>
              <a:rPr lang="fr-CA" b="1" dirty="0">
                <a:highlight>
                  <a:srgbClr val="FFFF00"/>
                </a:highlight>
              </a:rPr>
              <a:t> of </a:t>
            </a:r>
            <a:r>
              <a:rPr lang="fr-CA" b="1" dirty="0" err="1">
                <a:highlight>
                  <a:srgbClr val="FFFF00"/>
                </a:highlight>
              </a:rPr>
              <a:t>optimized</a:t>
            </a:r>
            <a:r>
              <a:rPr lang="fr-CA" b="1" dirty="0">
                <a:highlight>
                  <a:srgbClr val="FFFF00"/>
                </a:highlight>
              </a:rPr>
              <a:t> </a:t>
            </a:r>
            <a:r>
              <a:rPr lang="fr-CA" b="1" dirty="0" err="1">
                <a:highlight>
                  <a:srgbClr val="FFFF00"/>
                </a:highlight>
              </a:rPr>
              <a:t>workplace</a:t>
            </a:r>
            <a:r>
              <a:rPr lang="fr-CA" b="1" dirty="0">
                <a:highlight>
                  <a:srgbClr val="FFFF00"/>
                </a:highlight>
              </a:rPr>
              <a:t> </a:t>
            </a:r>
            <a:r>
              <a:rPr lang="fr-CA" b="1" dirty="0"/>
              <a:t>and new </a:t>
            </a:r>
            <a:r>
              <a:rPr lang="fr-CA" b="1" dirty="0" err="1"/>
              <a:t>utilization</a:t>
            </a:r>
            <a:r>
              <a:rPr lang="fr-CA" b="1" dirty="0"/>
              <a:t> </a:t>
            </a:r>
            <a:r>
              <a:rPr lang="fr-CA" b="1" dirty="0" err="1"/>
              <a:t>strategies</a:t>
            </a:r>
            <a:endParaRPr lang="en-CA" b="1" dirty="0"/>
          </a:p>
        </p:txBody>
      </p:sp>
      <p:sp>
        <p:nvSpPr>
          <p:cNvPr id="58" name="ZoneTexte 57">
            <a:extLst>
              <a:ext uri="{FF2B5EF4-FFF2-40B4-BE49-F238E27FC236}">
                <a16:creationId xmlns:a16="http://schemas.microsoft.com/office/drawing/2014/main" id="{62D48345-9A67-33B9-271D-D2722B58526B}"/>
              </a:ext>
            </a:extLst>
          </p:cNvPr>
          <p:cNvSpPr txBox="1"/>
          <p:nvPr/>
        </p:nvSpPr>
        <p:spPr>
          <a:xfrm>
            <a:off x="8586754" y="5411035"/>
            <a:ext cx="1689032" cy="369332"/>
          </a:xfrm>
          <a:prstGeom prst="rect">
            <a:avLst/>
          </a:prstGeom>
          <a:noFill/>
        </p:spPr>
        <p:txBody>
          <a:bodyPr wrap="square" rtlCol="0">
            <a:spAutoFit/>
          </a:bodyPr>
          <a:lstStyle/>
          <a:p>
            <a:r>
              <a:rPr lang="fr-CA" dirty="0"/>
              <a:t>Date or </a:t>
            </a:r>
            <a:r>
              <a:rPr lang="fr-CA" dirty="0" err="1"/>
              <a:t>month</a:t>
            </a:r>
            <a:endParaRPr lang="en-CA" dirty="0"/>
          </a:p>
        </p:txBody>
      </p:sp>
      <p:sp>
        <p:nvSpPr>
          <p:cNvPr id="57" name="ZoneTexte 56">
            <a:extLst>
              <a:ext uri="{FF2B5EF4-FFF2-40B4-BE49-F238E27FC236}">
                <a16:creationId xmlns:a16="http://schemas.microsoft.com/office/drawing/2014/main" id="{80C64189-743E-1D6F-BC38-898A98A32465}"/>
              </a:ext>
            </a:extLst>
          </p:cNvPr>
          <p:cNvSpPr txBox="1"/>
          <p:nvPr/>
        </p:nvSpPr>
        <p:spPr>
          <a:xfrm>
            <a:off x="8021733" y="5667747"/>
            <a:ext cx="3034194" cy="646331"/>
          </a:xfrm>
          <a:prstGeom prst="rect">
            <a:avLst/>
          </a:prstGeom>
          <a:noFill/>
        </p:spPr>
        <p:txBody>
          <a:bodyPr wrap="square" rtlCol="0">
            <a:spAutoFit/>
          </a:bodyPr>
          <a:lstStyle/>
          <a:p>
            <a:pPr algn="ctr"/>
            <a:r>
              <a:rPr lang="fr-CA" b="1" dirty="0"/>
              <a:t>Post-</a:t>
            </a:r>
            <a:r>
              <a:rPr lang="fr-CA" b="1" dirty="0" err="1"/>
              <a:t>implementation</a:t>
            </a:r>
            <a:r>
              <a:rPr lang="fr-CA" b="1" dirty="0"/>
              <a:t> </a:t>
            </a:r>
            <a:r>
              <a:rPr lang="fr-CA" b="1" dirty="0" err="1"/>
              <a:t>survey</a:t>
            </a:r>
            <a:r>
              <a:rPr lang="fr-CA" b="1" dirty="0"/>
              <a:t>, </a:t>
            </a:r>
            <a:r>
              <a:rPr lang="fr-CA" b="1" dirty="0" err="1"/>
              <a:t>adjustments</a:t>
            </a:r>
            <a:r>
              <a:rPr lang="fr-CA" b="1" dirty="0"/>
              <a:t> and </a:t>
            </a:r>
            <a:r>
              <a:rPr lang="fr-CA" b="1" dirty="0" err="1"/>
              <a:t>reinforcement</a:t>
            </a:r>
            <a:endParaRPr lang="en-CA" b="1" dirty="0"/>
          </a:p>
        </p:txBody>
      </p:sp>
      <p:sp>
        <p:nvSpPr>
          <p:cNvPr id="12" name="Ellipse 11">
            <a:extLst>
              <a:ext uri="{FF2B5EF4-FFF2-40B4-BE49-F238E27FC236}">
                <a16:creationId xmlns:a16="http://schemas.microsoft.com/office/drawing/2014/main" id="{641A1C60-574D-C16D-A641-07C3B4DFAF69}"/>
              </a:ext>
              <a:ext uri="{C183D7F6-B498-43B3-948B-1728B52AA6E4}">
                <adec:decorative xmlns:adec="http://schemas.microsoft.com/office/drawing/2017/decorative" val="1"/>
              </a:ext>
            </a:extLst>
          </p:cNvPr>
          <p:cNvSpPr/>
          <p:nvPr/>
        </p:nvSpPr>
        <p:spPr>
          <a:xfrm>
            <a:off x="1788918" y="336775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Ellipse 9">
            <a:extLst>
              <a:ext uri="{FF2B5EF4-FFF2-40B4-BE49-F238E27FC236}">
                <a16:creationId xmlns:a16="http://schemas.microsoft.com/office/drawing/2014/main" id="{E49B5449-959A-7DA6-0EA2-232C2BB62871}"/>
              </a:ext>
              <a:ext uri="{C183D7F6-B498-43B3-948B-1728B52AA6E4}">
                <adec:decorative xmlns:adec="http://schemas.microsoft.com/office/drawing/2017/decorative" val="1"/>
              </a:ext>
            </a:extLst>
          </p:cNvPr>
          <p:cNvSpPr/>
          <p:nvPr/>
        </p:nvSpPr>
        <p:spPr>
          <a:xfrm>
            <a:off x="1881823" y="346227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Ellipse 8">
            <a:extLst>
              <a:ext uri="{FF2B5EF4-FFF2-40B4-BE49-F238E27FC236}">
                <a16:creationId xmlns:a16="http://schemas.microsoft.com/office/drawing/2014/main" id="{0F0AB770-5A31-5D88-5DC8-C9BAB7804201}"/>
              </a:ext>
              <a:ext uri="{C183D7F6-B498-43B3-948B-1728B52AA6E4}">
                <adec:decorative xmlns:adec="http://schemas.microsoft.com/office/drawing/2017/decorative" val="1"/>
              </a:ext>
            </a:extLst>
          </p:cNvPr>
          <p:cNvSpPr/>
          <p:nvPr/>
        </p:nvSpPr>
        <p:spPr>
          <a:xfrm>
            <a:off x="2048685" y="366416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Cercle : creux 10">
            <a:extLst>
              <a:ext uri="{FF2B5EF4-FFF2-40B4-BE49-F238E27FC236}">
                <a16:creationId xmlns:a16="http://schemas.microsoft.com/office/drawing/2014/main" id="{4168E461-9019-0256-7847-A59482620E08}"/>
              </a:ext>
              <a:ext uri="{C183D7F6-B498-43B3-948B-1728B52AA6E4}">
                <adec:decorative xmlns:adec="http://schemas.microsoft.com/office/drawing/2017/decorative" val="1"/>
              </a:ext>
            </a:extLst>
          </p:cNvPr>
          <p:cNvSpPr/>
          <p:nvPr/>
        </p:nvSpPr>
        <p:spPr>
          <a:xfrm>
            <a:off x="1915403" y="349715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13" name="Connecteur droit 12">
            <a:extLst>
              <a:ext uri="{FF2B5EF4-FFF2-40B4-BE49-F238E27FC236}">
                <a16:creationId xmlns:a16="http://schemas.microsoft.com/office/drawing/2014/main" id="{10E575E7-B168-6981-57EE-8C43273FD31D}"/>
              </a:ext>
              <a:ext uri="{C183D7F6-B498-43B3-948B-1728B52AA6E4}">
                <adec:decorative xmlns:adec="http://schemas.microsoft.com/office/drawing/2017/decorative" val="1"/>
              </a:ext>
            </a:extLst>
          </p:cNvPr>
          <p:cNvCxnSpPr>
            <a:cxnSpLocks/>
          </p:cNvCxnSpPr>
          <p:nvPr/>
        </p:nvCxnSpPr>
        <p:spPr>
          <a:xfrm>
            <a:off x="2232822" y="423962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4" name="Arc 13">
            <a:extLst>
              <a:ext uri="{FF2B5EF4-FFF2-40B4-BE49-F238E27FC236}">
                <a16:creationId xmlns:a16="http://schemas.microsoft.com/office/drawing/2014/main" id="{E8367094-C7DF-CBCF-AF5E-8E4489281A4B}"/>
              </a:ext>
              <a:ext uri="{C183D7F6-B498-43B3-948B-1728B52AA6E4}">
                <adec:decorative xmlns:adec="http://schemas.microsoft.com/office/drawing/2017/decorative" val="1"/>
              </a:ext>
            </a:extLst>
          </p:cNvPr>
          <p:cNvSpPr/>
          <p:nvPr/>
        </p:nvSpPr>
        <p:spPr>
          <a:xfrm rot="12134810">
            <a:off x="1685654" y="324099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cxnSp>
        <p:nvCxnSpPr>
          <p:cNvPr id="7" name="Connecteur droit 6">
            <a:extLst>
              <a:ext uri="{FF2B5EF4-FFF2-40B4-BE49-F238E27FC236}">
                <a16:creationId xmlns:a16="http://schemas.microsoft.com/office/drawing/2014/main" id="{2BE5BEB0-7BD4-29A1-5362-0AE998BE7E93}"/>
              </a:ext>
              <a:ext uri="{C183D7F6-B498-43B3-948B-1728B52AA6E4}">
                <adec:decorative xmlns:adec="http://schemas.microsoft.com/office/drawing/2017/decorative" val="1"/>
              </a:ext>
            </a:extLst>
          </p:cNvPr>
          <p:cNvCxnSpPr>
            <a:cxnSpLocks/>
            <a:endCxn id="9" idx="2"/>
          </p:cNvCxnSpPr>
          <p:nvPr/>
        </p:nvCxnSpPr>
        <p:spPr>
          <a:xfrm>
            <a:off x="34836" y="3784347"/>
            <a:ext cx="201384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0" name="Ellipse 19">
            <a:extLst>
              <a:ext uri="{FF2B5EF4-FFF2-40B4-BE49-F238E27FC236}">
                <a16:creationId xmlns:a16="http://schemas.microsoft.com/office/drawing/2014/main" id="{B3A81356-6D92-78A8-3DC1-7B7F6043FA67}"/>
              </a:ext>
              <a:ext uri="{C183D7F6-B498-43B3-948B-1728B52AA6E4}">
                <adec:decorative xmlns:adec="http://schemas.microsoft.com/office/drawing/2017/decorative" val="1"/>
              </a:ext>
            </a:extLst>
          </p:cNvPr>
          <p:cNvSpPr/>
          <p:nvPr/>
        </p:nvSpPr>
        <p:spPr>
          <a:xfrm>
            <a:off x="2149800" y="525710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Ellipse 2">
            <a:extLst>
              <a:ext uri="{FF2B5EF4-FFF2-40B4-BE49-F238E27FC236}">
                <a16:creationId xmlns:a16="http://schemas.microsoft.com/office/drawing/2014/main" id="{13DCD74A-6998-F023-D695-DD9F937CE93F}"/>
              </a:ext>
              <a:ext uri="{C183D7F6-B498-43B3-948B-1728B52AA6E4}">
                <adec:decorative xmlns:adec="http://schemas.microsoft.com/office/drawing/2017/decorative" val="1"/>
              </a:ext>
            </a:extLst>
          </p:cNvPr>
          <p:cNvSpPr/>
          <p:nvPr/>
        </p:nvSpPr>
        <p:spPr>
          <a:xfrm>
            <a:off x="3593479" y="3353901"/>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Ellipse 4">
            <a:extLst>
              <a:ext uri="{FF2B5EF4-FFF2-40B4-BE49-F238E27FC236}">
                <a16:creationId xmlns:a16="http://schemas.microsoft.com/office/drawing/2014/main" id="{252009ED-9673-DE27-8712-DE8DAD6E21E0}"/>
              </a:ext>
              <a:ext uri="{C183D7F6-B498-43B3-948B-1728B52AA6E4}">
                <adec:decorative xmlns:adec="http://schemas.microsoft.com/office/drawing/2017/decorative" val="1"/>
              </a:ext>
            </a:extLst>
          </p:cNvPr>
          <p:cNvSpPr/>
          <p:nvPr/>
        </p:nvSpPr>
        <p:spPr>
          <a:xfrm>
            <a:off x="3686384" y="3448418"/>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Ellipse 5">
            <a:extLst>
              <a:ext uri="{FF2B5EF4-FFF2-40B4-BE49-F238E27FC236}">
                <a16:creationId xmlns:a16="http://schemas.microsoft.com/office/drawing/2014/main" id="{E26D1384-8E76-9A8B-B475-DE870612B95D}"/>
              </a:ext>
              <a:ext uri="{C183D7F6-B498-43B3-948B-1728B52AA6E4}">
                <adec:decorative xmlns:adec="http://schemas.microsoft.com/office/drawing/2017/decorative" val="1"/>
              </a:ext>
            </a:extLst>
          </p:cNvPr>
          <p:cNvSpPr/>
          <p:nvPr/>
        </p:nvSpPr>
        <p:spPr>
          <a:xfrm>
            <a:off x="3853246" y="3650312"/>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Cercle : creux 7">
            <a:extLst>
              <a:ext uri="{FF2B5EF4-FFF2-40B4-BE49-F238E27FC236}">
                <a16:creationId xmlns:a16="http://schemas.microsoft.com/office/drawing/2014/main" id="{23E99F4F-F3B2-6B21-75A4-29202AF2EDAE}"/>
              </a:ext>
              <a:ext uri="{C183D7F6-B498-43B3-948B-1728B52AA6E4}">
                <adec:decorative xmlns:adec="http://schemas.microsoft.com/office/drawing/2017/decorative" val="1"/>
              </a:ext>
            </a:extLst>
          </p:cNvPr>
          <p:cNvSpPr/>
          <p:nvPr/>
        </p:nvSpPr>
        <p:spPr>
          <a:xfrm>
            <a:off x="3719964" y="3483297"/>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15" name="Connecteur droit 14">
            <a:extLst>
              <a:ext uri="{FF2B5EF4-FFF2-40B4-BE49-F238E27FC236}">
                <a16:creationId xmlns:a16="http://schemas.microsoft.com/office/drawing/2014/main" id="{7983B277-C430-B365-49FF-CBA08A0541FA}"/>
              </a:ext>
              <a:ext uri="{C183D7F6-B498-43B3-948B-1728B52AA6E4}">
                <adec:decorative xmlns:adec="http://schemas.microsoft.com/office/drawing/2017/decorative" val="1"/>
              </a:ext>
            </a:extLst>
          </p:cNvPr>
          <p:cNvCxnSpPr>
            <a:cxnSpLocks/>
          </p:cNvCxnSpPr>
          <p:nvPr/>
        </p:nvCxnSpPr>
        <p:spPr>
          <a:xfrm>
            <a:off x="4026358" y="2326028"/>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6" name="Arc 15">
            <a:extLst>
              <a:ext uri="{FF2B5EF4-FFF2-40B4-BE49-F238E27FC236}">
                <a16:creationId xmlns:a16="http://schemas.microsoft.com/office/drawing/2014/main" id="{60A4BDE2-E6E1-BEFA-6545-10F4A9C4B38E}"/>
              </a:ext>
              <a:ext uri="{C183D7F6-B498-43B3-948B-1728B52AA6E4}">
                <adec:decorative xmlns:adec="http://schemas.microsoft.com/office/drawing/2017/decorative" val="1"/>
              </a:ext>
            </a:extLst>
          </p:cNvPr>
          <p:cNvSpPr/>
          <p:nvPr/>
        </p:nvSpPr>
        <p:spPr>
          <a:xfrm rot="17357701">
            <a:off x="3464080" y="3232278"/>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17" name="Ellipse 16">
            <a:extLst>
              <a:ext uri="{FF2B5EF4-FFF2-40B4-BE49-F238E27FC236}">
                <a16:creationId xmlns:a16="http://schemas.microsoft.com/office/drawing/2014/main" id="{BE2C8F62-70A2-F29B-59A9-A79C3CD3C98F}"/>
              </a:ext>
              <a:ext uri="{C183D7F6-B498-43B3-948B-1728B52AA6E4}">
                <adec:decorative xmlns:adec="http://schemas.microsoft.com/office/drawing/2017/decorative" val="1"/>
              </a:ext>
            </a:extLst>
          </p:cNvPr>
          <p:cNvSpPr/>
          <p:nvPr/>
        </p:nvSpPr>
        <p:spPr>
          <a:xfrm>
            <a:off x="3923190" y="2195296"/>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2" name="Connecteur droit 1">
            <a:extLst>
              <a:ext uri="{FF2B5EF4-FFF2-40B4-BE49-F238E27FC236}">
                <a16:creationId xmlns:a16="http://schemas.microsoft.com/office/drawing/2014/main" id="{C96F2F8A-400E-A20B-385F-5F541FA16016}"/>
              </a:ext>
              <a:ext uri="{C183D7F6-B498-43B3-948B-1728B52AA6E4}">
                <adec:decorative xmlns:adec="http://schemas.microsoft.com/office/drawing/2017/decorative" val="1"/>
              </a:ext>
            </a:extLst>
          </p:cNvPr>
          <p:cNvCxnSpPr>
            <a:cxnSpLocks/>
          </p:cNvCxnSpPr>
          <p:nvPr/>
        </p:nvCxnSpPr>
        <p:spPr>
          <a:xfrm>
            <a:off x="2368266" y="3803492"/>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19" name="Ellipse 18">
            <a:extLst>
              <a:ext uri="{FF2B5EF4-FFF2-40B4-BE49-F238E27FC236}">
                <a16:creationId xmlns:a16="http://schemas.microsoft.com/office/drawing/2014/main" id="{949E1EBB-B5B0-7C59-331C-F95BADD85A45}"/>
              </a:ext>
              <a:ext uri="{C183D7F6-B498-43B3-948B-1728B52AA6E4}">
                <adec:decorative xmlns:adec="http://schemas.microsoft.com/office/drawing/2017/decorative" val="1"/>
              </a:ext>
            </a:extLst>
          </p:cNvPr>
          <p:cNvSpPr/>
          <p:nvPr/>
        </p:nvSpPr>
        <p:spPr>
          <a:xfrm>
            <a:off x="5380713" y="3364292"/>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Ellipse 20">
            <a:extLst>
              <a:ext uri="{FF2B5EF4-FFF2-40B4-BE49-F238E27FC236}">
                <a16:creationId xmlns:a16="http://schemas.microsoft.com/office/drawing/2014/main" id="{8B26B707-9B50-D4B7-CE03-18C890FBEA1E}"/>
              </a:ext>
              <a:ext uri="{C183D7F6-B498-43B3-948B-1728B52AA6E4}">
                <adec:decorative xmlns:adec="http://schemas.microsoft.com/office/drawing/2017/decorative" val="1"/>
              </a:ext>
            </a:extLst>
          </p:cNvPr>
          <p:cNvSpPr/>
          <p:nvPr/>
        </p:nvSpPr>
        <p:spPr>
          <a:xfrm>
            <a:off x="5473618" y="3458809"/>
            <a:ext cx="689318" cy="682436"/>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Ellipse 21">
            <a:extLst>
              <a:ext uri="{FF2B5EF4-FFF2-40B4-BE49-F238E27FC236}">
                <a16:creationId xmlns:a16="http://schemas.microsoft.com/office/drawing/2014/main" id="{153AD99E-969D-CDB0-2F1A-03C010B4CA2F}"/>
              </a:ext>
              <a:ext uri="{C183D7F6-B498-43B3-948B-1728B52AA6E4}">
                <adec:decorative xmlns:adec="http://schemas.microsoft.com/office/drawing/2017/decorative" val="1"/>
              </a:ext>
            </a:extLst>
          </p:cNvPr>
          <p:cNvSpPr/>
          <p:nvPr/>
        </p:nvSpPr>
        <p:spPr>
          <a:xfrm>
            <a:off x="5692435" y="3660703"/>
            <a:ext cx="235376" cy="265029"/>
          </a:xfrm>
          <a:prstGeom prst="ellipse">
            <a:avLst/>
          </a:prstGeom>
          <a:solidFill>
            <a:srgbClr val="51864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Cercle : creux 22">
            <a:extLst>
              <a:ext uri="{FF2B5EF4-FFF2-40B4-BE49-F238E27FC236}">
                <a16:creationId xmlns:a16="http://schemas.microsoft.com/office/drawing/2014/main" id="{5009506C-9AF6-D811-B74A-D0334300F2A4}"/>
              </a:ext>
              <a:ext uri="{C183D7F6-B498-43B3-948B-1728B52AA6E4}">
                <adec:decorative xmlns:adec="http://schemas.microsoft.com/office/drawing/2017/decorative" val="1"/>
              </a:ext>
            </a:extLst>
          </p:cNvPr>
          <p:cNvSpPr/>
          <p:nvPr/>
        </p:nvSpPr>
        <p:spPr>
          <a:xfrm>
            <a:off x="5507198" y="3493688"/>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24" name="Connecteur droit 23">
            <a:extLst>
              <a:ext uri="{FF2B5EF4-FFF2-40B4-BE49-F238E27FC236}">
                <a16:creationId xmlns:a16="http://schemas.microsoft.com/office/drawing/2014/main" id="{4318A952-A3B7-1777-6453-931747D02D1E}"/>
              </a:ext>
              <a:ext uri="{C183D7F6-B498-43B3-948B-1728B52AA6E4}">
                <adec:decorative xmlns:adec="http://schemas.microsoft.com/office/drawing/2017/decorative" val="1"/>
              </a:ext>
            </a:extLst>
          </p:cNvPr>
          <p:cNvCxnSpPr>
            <a:cxnSpLocks/>
          </p:cNvCxnSpPr>
          <p:nvPr/>
        </p:nvCxnSpPr>
        <p:spPr>
          <a:xfrm>
            <a:off x="5824617" y="4236162"/>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5" name="Ellipse 24">
            <a:extLst>
              <a:ext uri="{FF2B5EF4-FFF2-40B4-BE49-F238E27FC236}">
                <a16:creationId xmlns:a16="http://schemas.microsoft.com/office/drawing/2014/main" id="{BB5B164B-32E5-447E-7986-F11E54636D93}"/>
              </a:ext>
              <a:ext uri="{C183D7F6-B498-43B3-948B-1728B52AA6E4}">
                <adec:decorative xmlns:adec="http://schemas.microsoft.com/office/drawing/2017/decorative" val="1"/>
              </a:ext>
            </a:extLst>
          </p:cNvPr>
          <p:cNvSpPr/>
          <p:nvPr/>
        </p:nvSpPr>
        <p:spPr>
          <a:xfrm>
            <a:off x="5741595" y="5253643"/>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18" name="Connecteur droit 17">
            <a:extLst>
              <a:ext uri="{FF2B5EF4-FFF2-40B4-BE49-F238E27FC236}">
                <a16:creationId xmlns:a16="http://schemas.microsoft.com/office/drawing/2014/main" id="{F6F2A91A-CE4A-5B32-5011-9E94214D716D}"/>
              </a:ext>
              <a:ext uri="{C183D7F6-B498-43B3-948B-1728B52AA6E4}">
                <adec:decorative xmlns:adec="http://schemas.microsoft.com/office/drawing/2017/decorative" val="1"/>
              </a:ext>
            </a:extLst>
          </p:cNvPr>
          <p:cNvCxnSpPr>
            <a:cxnSpLocks/>
          </p:cNvCxnSpPr>
          <p:nvPr/>
        </p:nvCxnSpPr>
        <p:spPr>
          <a:xfrm>
            <a:off x="4162430" y="3789636"/>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26" name="Ellipse 25">
            <a:extLst>
              <a:ext uri="{FF2B5EF4-FFF2-40B4-BE49-F238E27FC236}">
                <a16:creationId xmlns:a16="http://schemas.microsoft.com/office/drawing/2014/main" id="{F54B95CE-09AF-C40B-10E8-38309EBC5D2C}"/>
              </a:ext>
              <a:ext uri="{C183D7F6-B498-43B3-948B-1728B52AA6E4}">
                <adec:decorative xmlns:adec="http://schemas.microsoft.com/office/drawing/2017/decorative" val="1"/>
              </a:ext>
            </a:extLst>
          </p:cNvPr>
          <p:cNvSpPr/>
          <p:nvPr/>
        </p:nvSpPr>
        <p:spPr>
          <a:xfrm>
            <a:off x="7164484" y="336082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Ellipse 26">
            <a:extLst>
              <a:ext uri="{FF2B5EF4-FFF2-40B4-BE49-F238E27FC236}">
                <a16:creationId xmlns:a16="http://schemas.microsoft.com/office/drawing/2014/main" id="{00CEC2D0-B816-A4AA-98FF-42B3C53A244F}"/>
              </a:ext>
              <a:ext uri="{C183D7F6-B498-43B3-948B-1728B52AA6E4}">
                <adec:decorative xmlns:adec="http://schemas.microsoft.com/office/drawing/2017/decorative" val="1"/>
              </a:ext>
            </a:extLst>
          </p:cNvPr>
          <p:cNvSpPr/>
          <p:nvPr/>
        </p:nvSpPr>
        <p:spPr>
          <a:xfrm>
            <a:off x="7257389" y="3455344"/>
            <a:ext cx="689318" cy="682436"/>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Ellipse 27">
            <a:extLst>
              <a:ext uri="{FF2B5EF4-FFF2-40B4-BE49-F238E27FC236}">
                <a16:creationId xmlns:a16="http://schemas.microsoft.com/office/drawing/2014/main" id="{E24B5A4D-D3D0-4B88-EE19-E2BACA852406}"/>
              </a:ext>
              <a:ext uri="{C183D7F6-B498-43B3-948B-1728B52AA6E4}">
                <adec:decorative xmlns:adec="http://schemas.microsoft.com/office/drawing/2017/decorative" val="1"/>
              </a:ext>
            </a:extLst>
          </p:cNvPr>
          <p:cNvSpPr/>
          <p:nvPr/>
        </p:nvSpPr>
        <p:spPr>
          <a:xfrm>
            <a:off x="7424251" y="3657238"/>
            <a:ext cx="235376" cy="265029"/>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Cercle : creux 28">
            <a:extLst>
              <a:ext uri="{FF2B5EF4-FFF2-40B4-BE49-F238E27FC236}">
                <a16:creationId xmlns:a16="http://schemas.microsoft.com/office/drawing/2014/main" id="{EDA9D9ED-7A9A-1762-D5B3-9D3978C4998E}"/>
              </a:ext>
              <a:ext uri="{C183D7F6-B498-43B3-948B-1728B52AA6E4}">
                <adec:decorative xmlns:adec="http://schemas.microsoft.com/office/drawing/2017/decorative" val="1"/>
              </a:ext>
            </a:extLst>
          </p:cNvPr>
          <p:cNvSpPr/>
          <p:nvPr/>
        </p:nvSpPr>
        <p:spPr>
          <a:xfrm>
            <a:off x="7290969" y="349022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30" name="Connecteur droit 29">
            <a:extLst>
              <a:ext uri="{FF2B5EF4-FFF2-40B4-BE49-F238E27FC236}">
                <a16:creationId xmlns:a16="http://schemas.microsoft.com/office/drawing/2014/main" id="{1915A0C8-9419-C7AD-D3E1-83CFAEC77A44}"/>
              </a:ext>
              <a:ext uri="{C183D7F6-B498-43B3-948B-1728B52AA6E4}">
                <adec:decorative xmlns:adec="http://schemas.microsoft.com/office/drawing/2017/decorative" val="1"/>
              </a:ext>
            </a:extLst>
          </p:cNvPr>
          <p:cNvCxnSpPr>
            <a:cxnSpLocks/>
          </p:cNvCxnSpPr>
          <p:nvPr/>
        </p:nvCxnSpPr>
        <p:spPr>
          <a:xfrm>
            <a:off x="7597363" y="2332954"/>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1" name="Arc 30">
            <a:extLst>
              <a:ext uri="{FF2B5EF4-FFF2-40B4-BE49-F238E27FC236}">
                <a16:creationId xmlns:a16="http://schemas.microsoft.com/office/drawing/2014/main" id="{89EC5A0B-8CD2-4D4C-3E71-927F1BFDB370}"/>
              </a:ext>
              <a:ext uri="{C183D7F6-B498-43B3-948B-1728B52AA6E4}">
                <adec:decorative xmlns:adec="http://schemas.microsoft.com/office/drawing/2017/decorative" val="1"/>
              </a:ext>
            </a:extLst>
          </p:cNvPr>
          <p:cNvSpPr/>
          <p:nvPr/>
        </p:nvSpPr>
        <p:spPr>
          <a:xfrm rot="17357701">
            <a:off x="7035085" y="3239204"/>
            <a:ext cx="1155909" cy="1124470"/>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32" name="Ellipse 31">
            <a:extLst>
              <a:ext uri="{FF2B5EF4-FFF2-40B4-BE49-F238E27FC236}">
                <a16:creationId xmlns:a16="http://schemas.microsoft.com/office/drawing/2014/main" id="{CA864140-7987-A572-621D-80A839AD187F}"/>
              </a:ext>
              <a:ext uri="{C183D7F6-B498-43B3-948B-1728B52AA6E4}">
                <adec:decorative xmlns:adec="http://schemas.microsoft.com/office/drawing/2017/decorative" val="1"/>
              </a:ext>
            </a:extLst>
          </p:cNvPr>
          <p:cNvSpPr/>
          <p:nvPr/>
        </p:nvSpPr>
        <p:spPr>
          <a:xfrm>
            <a:off x="7494195" y="2202222"/>
            <a:ext cx="165432" cy="166947"/>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33" name="Connecteur droit 32">
            <a:extLst>
              <a:ext uri="{FF2B5EF4-FFF2-40B4-BE49-F238E27FC236}">
                <a16:creationId xmlns:a16="http://schemas.microsoft.com/office/drawing/2014/main" id="{D19EECE6-254E-49CD-0954-2FF1EB8394B8}"/>
              </a:ext>
              <a:ext uri="{C183D7F6-B498-43B3-948B-1728B52AA6E4}">
                <adec:decorative xmlns:adec="http://schemas.microsoft.com/office/drawing/2017/decorative" val="1"/>
              </a:ext>
            </a:extLst>
          </p:cNvPr>
          <p:cNvCxnSpPr>
            <a:cxnSpLocks/>
          </p:cNvCxnSpPr>
          <p:nvPr/>
        </p:nvCxnSpPr>
        <p:spPr>
          <a:xfrm>
            <a:off x="5942770" y="3818017"/>
            <a:ext cx="1508359" cy="12336"/>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34" name="Arc 33">
            <a:extLst>
              <a:ext uri="{FF2B5EF4-FFF2-40B4-BE49-F238E27FC236}">
                <a16:creationId xmlns:a16="http://schemas.microsoft.com/office/drawing/2014/main" id="{DED31946-3A88-3B27-CAFD-D81126891350}"/>
              </a:ext>
              <a:ext uri="{C183D7F6-B498-43B3-948B-1728B52AA6E4}">
                <adec:decorative xmlns:adec="http://schemas.microsoft.com/office/drawing/2017/decorative" val="1"/>
              </a:ext>
            </a:extLst>
          </p:cNvPr>
          <p:cNvSpPr/>
          <p:nvPr/>
        </p:nvSpPr>
        <p:spPr>
          <a:xfrm rot="12134810">
            <a:off x="5277449" y="3227142"/>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35" name="Ellipse 34">
            <a:extLst>
              <a:ext uri="{FF2B5EF4-FFF2-40B4-BE49-F238E27FC236}">
                <a16:creationId xmlns:a16="http://schemas.microsoft.com/office/drawing/2014/main" id="{0AD30AF3-6F71-6556-CAD0-415C4A0ED505}"/>
              </a:ext>
              <a:ext uri="{C183D7F6-B498-43B3-948B-1728B52AA6E4}">
                <adec:decorative xmlns:adec="http://schemas.microsoft.com/office/drawing/2017/decorative" val="1"/>
              </a:ext>
            </a:extLst>
          </p:cNvPr>
          <p:cNvSpPr/>
          <p:nvPr/>
        </p:nvSpPr>
        <p:spPr>
          <a:xfrm>
            <a:off x="8965567" y="3416247"/>
            <a:ext cx="857249" cy="871870"/>
          </a:xfrm>
          <a:prstGeom prst="ellipse">
            <a:avLst/>
          </a:prstGeom>
          <a:noFill/>
          <a:ln w="285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Ellipse 35">
            <a:extLst>
              <a:ext uri="{FF2B5EF4-FFF2-40B4-BE49-F238E27FC236}">
                <a16:creationId xmlns:a16="http://schemas.microsoft.com/office/drawing/2014/main" id="{5C90F134-E0D2-DCDE-ECD6-B419D029FA78}"/>
              </a:ext>
              <a:ext uri="{C183D7F6-B498-43B3-948B-1728B52AA6E4}">
                <adec:decorative xmlns:adec="http://schemas.microsoft.com/office/drawing/2017/decorative" val="1"/>
              </a:ext>
            </a:extLst>
          </p:cNvPr>
          <p:cNvSpPr/>
          <p:nvPr/>
        </p:nvSpPr>
        <p:spPr>
          <a:xfrm>
            <a:off x="9058472" y="3510764"/>
            <a:ext cx="689318" cy="682436"/>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Ellipse 36">
            <a:extLst>
              <a:ext uri="{FF2B5EF4-FFF2-40B4-BE49-F238E27FC236}">
                <a16:creationId xmlns:a16="http://schemas.microsoft.com/office/drawing/2014/main" id="{18901499-BBEF-67D4-3F59-37A24ED0BEED}"/>
              </a:ext>
              <a:ext uri="{C183D7F6-B498-43B3-948B-1728B52AA6E4}">
                <adec:decorative xmlns:adec="http://schemas.microsoft.com/office/drawing/2017/decorative" val="1"/>
              </a:ext>
            </a:extLst>
          </p:cNvPr>
          <p:cNvSpPr/>
          <p:nvPr/>
        </p:nvSpPr>
        <p:spPr>
          <a:xfrm>
            <a:off x="9225334" y="3712658"/>
            <a:ext cx="235376" cy="265029"/>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8" name="Cercle : creux 37">
            <a:extLst>
              <a:ext uri="{FF2B5EF4-FFF2-40B4-BE49-F238E27FC236}">
                <a16:creationId xmlns:a16="http://schemas.microsoft.com/office/drawing/2014/main" id="{C4B3ACDF-F9DE-5445-B161-1597312A56A1}"/>
              </a:ext>
              <a:ext uri="{C183D7F6-B498-43B3-948B-1728B52AA6E4}">
                <adec:decorative xmlns:adec="http://schemas.microsoft.com/office/drawing/2017/decorative" val="1"/>
              </a:ext>
            </a:extLst>
          </p:cNvPr>
          <p:cNvSpPr/>
          <p:nvPr/>
        </p:nvSpPr>
        <p:spPr>
          <a:xfrm>
            <a:off x="9092052" y="3545643"/>
            <a:ext cx="609458" cy="611757"/>
          </a:xfrm>
          <a:prstGeom prst="donu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cxnSp>
        <p:nvCxnSpPr>
          <p:cNvPr id="39" name="Connecteur droit 38">
            <a:extLst>
              <a:ext uri="{FF2B5EF4-FFF2-40B4-BE49-F238E27FC236}">
                <a16:creationId xmlns:a16="http://schemas.microsoft.com/office/drawing/2014/main" id="{4BB8F730-2294-2BB6-31E9-6C5CD1F8760C}"/>
              </a:ext>
              <a:ext uri="{C183D7F6-B498-43B3-948B-1728B52AA6E4}">
                <adec:decorative xmlns:adec="http://schemas.microsoft.com/office/drawing/2017/decorative" val="1"/>
              </a:ext>
            </a:extLst>
          </p:cNvPr>
          <p:cNvCxnSpPr>
            <a:cxnSpLocks/>
          </p:cNvCxnSpPr>
          <p:nvPr/>
        </p:nvCxnSpPr>
        <p:spPr>
          <a:xfrm>
            <a:off x="9409471" y="4288117"/>
            <a:ext cx="0" cy="1027873"/>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sp>
        <p:nvSpPr>
          <p:cNvPr id="40" name="Arc 39">
            <a:extLst>
              <a:ext uri="{FF2B5EF4-FFF2-40B4-BE49-F238E27FC236}">
                <a16:creationId xmlns:a16="http://schemas.microsoft.com/office/drawing/2014/main" id="{64D76BAA-855E-6319-281A-AEEFD5B609B2}"/>
              </a:ext>
              <a:ext uri="{C183D7F6-B498-43B3-948B-1728B52AA6E4}">
                <adec:decorative xmlns:adec="http://schemas.microsoft.com/office/drawing/2017/decorative" val="1"/>
              </a:ext>
            </a:extLst>
          </p:cNvPr>
          <p:cNvSpPr/>
          <p:nvPr/>
        </p:nvSpPr>
        <p:spPr>
          <a:xfrm rot="12134810">
            <a:off x="8862303" y="3289488"/>
            <a:ext cx="1130785" cy="1134745"/>
          </a:xfrm>
          <a:prstGeom prst="arc">
            <a:avLst>
              <a:gd name="adj1" fmla="val 14938993"/>
              <a:gd name="adj2" fmla="val 20293196"/>
            </a:avLst>
          </a:prstGeom>
          <a:ln w="190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sp>
        <p:nvSpPr>
          <p:cNvPr id="41" name="Ellipse 40">
            <a:extLst>
              <a:ext uri="{FF2B5EF4-FFF2-40B4-BE49-F238E27FC236}">
                <a16:creationId xmlns:a16="http://schemas.microsoft.com/office/drawing/2014/main" id="{D4C84D6D-4280-615B-12A1-87A6343C60F4}"/>
              </a:ext>
              <a:ext uri="{C183D7F6-B498-43B3-948B-1728B52AA6E4}">
                <adec:decorative xmlns:adec="http://schemas.microsoft.com/office/drawing/2017/decorative" val="1"/>
              </a:ext>
            </a:extLst>
          </p:cNvPr>
          <p:cNvSpPr/>
          <p:nvPr/>
        </p:nvSpPr>
        <p:spPr>
          <a:xfrm>
            <a:off x="9326449" y="5305598"/>
            <a:ext cx="165432" cy="166947"/>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2" name="Connecteur droit 41">
            <a:extLst>
              <a:ext uri="{FF2B5EF4-FFF2-40B4-BE49-F238E27FC236}">
                <a16:creationId xmlns:a16="http://schemas.microsoft.com/office/drawing/2014/main" id="{13A6E390-93FA-DA58-F68C-B5F177D1BD2C}"/>
              </a:ext>
              <a:ext uri="{C183D7F6-B498-43B3-948B-1728B52AA6E4}">
                <adec:decorative xmlns:adec="http://schemas.microsoft.com/office/drawing/2017/decorative" val="1"/>
              </a:ext>
            </a:extLst>
          </p:cNvPr>
          <p:cNvCxnSpPr>
            <a:cxnSpLocks/>
            <a:endCxn id="37" idx="2"/>
          </p:cNvCxnSpPr>
          <p:nvPr/>
        </p:nvCxnSpPr>
        <p:spPr>
          <a:xfrm>
            <a:off x="7710003" y="3830353"/>
            <a:ext cx="1515331" cy="14820"/>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43" name="Connecteur droit 42">
            <a:extLst>
              <a:ext uri="{FF2B5EF4-FFF2-40B4-BE49-F238E27FC236}">
                <a16:creationId xmlns:a16="http://schemas.microsoft.com/office/drawing/2014/main" id="{7B3B1AD4-3FA7-7099-D700-61286027097C}"/>
              </a:ext>
              <a:ext uri="{C183D7F6-B498-43B3-948B-1728B52AA6E4}">
                <adec:decorative xmlns:adec="http://schemas.microsoft.com/office/drawing/2017/decorative" val="1"/>
              </a:ext>
            </a:extLst>
          </p:cNvPr>
          <p:cNvCxnSpPr>
            <a:cxnSpLocks/>
          </p:cNvCxnSpPr>
          <p:nvPr/>
        </p:nvCxnSpPr>
        <p:spPr>
          <a:xfrm flipV="1">
            <a:off x="9558759" y="3837763"/>
            <a:ext cx="2633241" cy="14219"/>
          </a:xfrm>
          <a:prstGeom prst="line">
            <a:avLst/>
          </a:prstGeom>
          <a:ln w="19050">
            <a:solidFill>
              <a:schemeClr val="bg1">
                <a:lumMod val="50000"/>
              </a:schemeClr>
            </a:solidFill>
          </a:ln>
        </p:spPr>
        <p:style>
          <a:lnRef idx="2">
            <a:schemeClr val="accent6"/>
          </a:lnRef>
          <a:fillRef idx="0">
            <a:schemeClr val="accent6"/>
          </a:fillRef>
          <a:effectRef idx="1">
            <a:schemeClr val="accent6"/>
          </a:effectRef>
          <a:fontRef idx="minor">
            <a:schemeClr val="tx1"/>
          </a:fontRef>
        </p:style>
      </p:cxnSp>
      <p:cxnSp>
        <p:nvCxnSpPr>
          <p:cNvPr id="63" name="Connecteur droit avec flèche 62">
            <a:extLst>
              <a:ext uri="{FF2B5EF4-FFF2-40B4-BE49-F238E27FC236}">
                <a16:creationId xmlns:a16="http://schemas.microsoft.com/office/drawing/2014/main" id="{B32AA51F-1724-BA56-E823-B032DD85AA41}"/>
              </a:ext>
              <a:ext uri="{C183D7F6-B498-43B3-948B-1728B52AA6E4}">
                <adec:decorative xmlns:adec="http://schemas.microsoft.com/office/drawing/2017/decorative" val="1"/>
              </a:ext>
            </a:extLst>
          </p:cNvPr>
          <p:cNvCxnSpPr>
            <a:cxnSpLocks/>
          </p:cNvCxnSpPr>
          <p:nvPr/>
        </p:nvCxnSpPr>
        <p:spPr>
          <a:xfrm>
            <a:off x="2868377" y="2875075"/>
            <a:ext cx="7678396" cy="0"/>
          </a:xfrm>
          <a:prstGeom prst="straightConnector1">
            <a:avLst/>
          </a:prstGeom>
          <a:ln>
            <a:prstDash val="dash"/>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865673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Custom 1">
      <a:majorFont>
        <a:latin typeface="Arial Rounded MT Bold"/>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762</TotalTime>
  <Words>1591</Words>
  <Application>Microsoft Office PowerPoint</Application>
  <PresentationFormat>Widescreen</PresentationFormat>
  <Paragraphs>154</Paragraphs>
  <Slides>21</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Arial Rounded MT Bold</vt:lpstr>
      <vt:lpstr>Avenir Next LT Pro</vt:lpstr>
      <vt:lpstr>Calibri</vt:lpstr>
      <vt:lpstr>Calibri Light</vt:lpstr>
      <vt:lpstr>Courier New</vt:lpstr>
      <vt:lpstr>Georgia</vt:lpstr>
      <vt:lpstr>1_Office Theme</vt:lpstr>
      <vt:lpstr>think-cell Slide</vt:lpstr>
      <vt:lpstr>Our Workplace Optimization project</vt:lpstr>
      <vt:lpstr>How to use this document</vt:lpstr>
      <vt:lpstr>Overview</vt:lpstr>
      <vt:lpstr>Context</vt:lpstr>
      <vt:lpstr>The Government of Canada’s Office Space Portfolio</vt:lpstr>
      <vt:lpstr>Unassigned Office Space Seating by Default: The Impact on the Government of Canada’s Office Portfolio </vt:lpstr>
      <vt:lpstr>Our vision</vt:lpstr>
      <vt:lpstr>What does it mean for our organization</vt:lpstr>
      <vt:lpstr>Timeline</vt:lpstr>
      <vt:lpstr>Leadership’s role from a Change management perspective</vt:lpstr>
      <vt:lpstr>My role as Sponsor of the optimization project</vt:lpstr>
      <vt:lpstr>Your Role as a Leader</vt:lpstr>
      <vt:lpstr>Seize the opportunities to play your role</vt:lpstr>
      <vt:lpstr>Practice Compassion and Grace</vt:lpstr>
      <vt:lpstr>Change management &amp; leadership impact </vt:lpstr>
      <vt:lpstr>Reactions to change</vt:lpstr>
      <vt:lpstr>The need for strong leadership – Persona Studies</vt:lpstr>
      <vt:lpstr>José’s security concerns</vt:lpstr>
      <vt:lpstr>John’s Cubicle</vt:lpstr>
      <vt:lpstr>Nina’s Office</vt:lpstr>
      <vt:lpstr>Pascale's Noisy Environ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Menard, Alexandrine (SPAC/PSPC)</cp:lastModifiedBy>
  <cp:revision>14</cp:revision>
  <dcterms:created xsi:type="dcterms:W3CDTF">2018-01-23T15:59:12Z</dcterms:created>
  <dcterms:modified xsi:type="dcterms:W3CDTF">2024-10-17T18:2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1T19:43:18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16bedad-ed97-47f6-b879-9e8e3511622d</vt:lpwstr>
  </property>
  <property fmtid="{D5CDD505-2E9C-101B-9397-08002B2CF9AE}" pid="8" name="MSIP_Label_834ed4f5-eae4-40c7-82be-b1cdf720a1b9_ContentBits">
    <vt:lpwstr>0</vt:lpwstr>
  </property>
</Properties>
</file>